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7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tags/tag126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5" r:id="rId3"/>
    <p:sldMasterId id="2147483702" r:id="rId4"/>
    <p:sldMasterId id="2147483716" r:id="rId5"/>
    <p:sldMasterId id="2147483733" r:id="rId6"/>
  </p:sldMasterIdLst>
  <p:notesMasterIdLst>
    <p:notesMasterId r:id="rId49"/>
  </p:notesMasterIdLst>
  <p:sldIdLst>
    <p:sldId id="256" r:id="rId7"/>
    <p:sldId id="367" r:id="rId8"/>
    <p:sldId id="2145706247" r:id="rId9"/>
    <p:sldId id="2145706237" r:id="rId10"/>
    <p:sldId id="2145706248" r:id="rId11"/>
    <p:sldId id="2145706249" r:id="rId12"/>
    <p:sldId id="2145706250" r:id="rId13"/>
    <p:sldId id="2145706251" r:id="rId14"/>
    <p:sldId id="258" r:id="rId15"/>
    <p:sldId id="2134804449" r:id="rId16"/>
    <p:sldId id="2134804450" r:id="rId17"/>
    <p:sldId id="2134804451" r:id="rId18"/>
    <p:sldId id="2145706239" r:id="rId19"/>
    <p:sldId id="366" r:id="rId20"/>
    <p:sldId id="4262" r:id="rId21"/>
    <p:sldId id="2145706232" r:id="rId22"/>
    <p:sldId id="368" r:id="rId23"/>
    <p:sldId id="2134804448" r:id="rId24"/>
    <p:sldId id="2145706245" r:id="rId25"/>
    <p:sldId id="269" r:id="rId26"/>
    <p:sldId id="2145706246" r:id="rId27"/>
    <p:sldId id="2145706234" r:id="rId28"/>
    <p:sldId id="2145706233" r:id="rId29"/>
    <p:sldId id="2145706241" r:id="rId30"/>
    <p:sldId id="2145706252" r:id="rId31"/>
    <p:sldId id="2145706253" r:id="rId32"/>
    <p:sldId id="267" r:id="rId33"/>
    <p:sldId id="283" r:id="rId34"/>
    <p:sldId id="2145706238" r:id="rId35"/>
    <p:sldId id="2145706254" r:id="rId36"/>
    <p:sldId id="2145706255" r:id="rId37"/>
    <p:sldId id="2145706235" r:id="rId38"/>
    <p:sldId id="2145706236" r:id="rId39"/>
    <p:sldId id="2145706231" r:id="rId40"/>
    <p:sldId id="2145706256" r:id="rId41"/>
    <p:sldId id="2145706257" r:id="rId42"/>
    <p:sldId id="2145706258" r:id="rId43"/>
    <p:sldId id="2145706259" r:id="rId44"/>
    <p:sldId id="4263" r:id="rId45"/>
    <p:sldId id="2145706244" r:id="rId46"/>
    <p:sldId id="4266" r:id="rId47"/>
    <p:sldId id="2443" r:id="rId4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FF99"/>
    <a:srgbClr val="99FF66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883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8" Type="http://schemas.openxmlformats.org/officeDocument/2006/relationships/slide" Target="slides/slide2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s-ES" sz="1200" b="1" dirty="0" err="1">
                <a:solidFill>
                  <a:schemeClr val="tx1"/>
                </a:solidFill>
              </a:rPr>
              <a:t>Cost</a:t>
            </a:r>
            <a:r>
              <a:rPr lang="es-ES" sz="1200" b="1" dirty="0">
                <a:solidFill>
                  <a:schemeClr val="tx1"/>
                </a:solidFill>
              </a:rPr>
              <a:t> </a:t>
            </a:r>
            <a:r>
              <a:rPr lang="es-ES" sz="1200" b="1" dirty="0" err="1">
                <a:solidFill>
                  <a:schemeClr val="tx1"/>
                </a:solidFill>
              </a:rPr>
              <a:t>of</a:t>
            </a:r>
            <a:r>
              <a:rPr lang="es-ES" sz="1200" b="1" dirty="0">
                <a:solidFill>
                  <a:schemeClr val="tx1"/>
                </a:solidFill>
              </a:rPr>
              <a:t> </a:t>
            </a:r>
            <a:r>
              <a:rPr lang="es-ES" sz="1200" b="1" dirty="0" err="1">
                <a:solidFill>
                  <a:schemeClr val="tx1"/>
                </a:solidFill>
              </a:rPr>
              <a:t>vitamins</a:t>
            </a:r>
            <a:r>
              <a:rPr lang="es-ES" sz="1200" b="1" dirty="0">
                <a:solidFill>
                  <a:schemeClr val="tx1"/>
                </a:solidFill>
              </a:rPr>
              <a:t> in </a:t>
            </a:r>
            <a:r>
              <a:rPr lang="es-ES" sz="1200" b="1" dirty="0" err="1">
                <a:solidFill>
                  <a:schemeClr val="tx1"/>
                </a:solidFill>
              </a:rPr>
              <a:t>feed</a:t>
            </a:r>
            <a:r>
              <a:rPr lang="es-ES" sz="1200" b="1" dirty="0">
                <a:solidFill>
                  <a:schemeClr val="tx1"/>
                </a:solidFill>
              </a:rPr>
              <a:t> </a:t>
            </a:r>
            <a:r>
              <a:rPr lang="es-ES" sz="1200" b="0" dirty="0">
                <a:solidFill>
                  <a:schemeClr val="tx1"/>
                </a:solidFill>
              </a:rPr>
              <a:t>(EUR/T</a:t>
            </a:r>
            <a:r>
              <a:rPr lang="es-ES" sz="1200" b="0" baseline="0" dirty="0">
                <a:solidFill>
                  <a:schemeClr val="tx1"/>
                </a:solidFill>
              </a:rPr>
              <a:t> feed)*   </a:t>
            </a:r>
            <a:r>
              <a:rPr lang="es-ES" sz="1200" b="0" dirty="0">
                <a:solidFill>
                  <a:schemeClr val="tx1"/>
                </a:solidFill>
              </a:rPr>
              <a:t> </a:t>
            </a:r>
          </a:p>
        </c:rich>
      </c:tx>
      <c:layout>
        <c:manualLayout>
          <c:xMode val="edge"/>
          <c:yMode val="edge"/>
          <c:x val="7.3175068121652642E-2"/>
          <c:y val="2.7423252316196713E-2"/>
        </c:manualLayout>
      </c:layout>
      <c:overlay val="0"/>
      <c:spPr>
        <a:noFill/>
        <a:ln w="19991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1320758376528049"/>
          <c:y val="0.19981484682539824"/>
          <c:w val="0.85614672382477752"/>
          <c:h val="0.580848586046329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ed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/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 formatCode="mmm\-yy">
                  <c:v>44621</c:v>
                </c:pt>
              </c:numCache>
            </c:numRef>
          </c:cat>
          <c:val>
            <c:numRef>
              <c:f>Sheet1!$B$2:$B$16</c:f>
            </c:numRef>
          </c:val>
          <c:extLst>
            <c:ext xmlns:c16="http://schemas.microsoft.com/office/drawing/2014/chart" uri="{C3380CC4-5D6E-409C-BE32-E72D297353CC}">
              <c16:uniqueId val="{00000000-4DDC-407E-AF87-36CA301A7F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tamins</c:v>
                </c:pt>
              </c:strCache>
            </c:strRef>
          </c:tx>
          <c:spPr>
            <a:solidFill>
              <a:srgbClr val="FF9900"/>
            </a:solidFill>
            <a:ln w="9995">
              <a:noFill/>
              <a:prstDash val="solid"/>
            </a:ln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 formatCode="mmm\-yy">
                  <c:v>44621</c:v>
                </c:pt>
              </c:numCache>
            </c:num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.5</c:v>
                </c:pt>
                <c:pt idx="1">
                  <c:v>3</c:v>
                </c:pt>
                <c:pt idx="2">
                  <c:v>2.8</c:v>
                </c:pt>
                <c:pt idx="3">
                  <c:v>2.8</c:v>
                </c:pt>
                <c:pt idx="4">
                  <c:v>2.8</c:v>
                </c:pt>
                <c:pt idx="5">
                  <c:v>2.7</c:v>
                </c:pt>
                <c:pt idx="6">
                  <c:v>2.2000000000000002</c:v>
                </c:pt>
                <c:pt idx="7">
                  <c:v>2.1</c:v>
                </c:pt>
                <c:pt idx="8">
                  <c:v>2.2000000000000002</c:v>
                </c:pt>
                <c:pt idx="9">
                  <c:v>2.8</c:v>
                </c:pt>
                <c:pt idx="10">
                  <c:v>6.8</c:v>
                </c:pt>
                <c:pt idx="11">
                  <c:v>4.5</c:v>
                </c:pt>
                <c:pt idx="12">
                  <c:v>3.5</c:v>
                </c:pt>
                <c:pt idx="13">
                  <c:v>3.3</c:v>
                </c:pt>
                <c:pt idx="14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DC-407E-AF87-36CA301A7F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32923448"/>
        <c:axId val="1"/>
      </c:barChart>
      <c:catAx>
        <c:axId val="232923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7489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8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 w="7489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low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32923448"/>
        <c:crosses val="autoZero"/>
        <c:crossBetween val="between"/>
      </c:valAx>
      <c:spPr>
        <a:noFill/>
        <a:ln w="19991">
          <a:noFill/>
        </a:ln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25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s-ES" sz="1600" b="1" i="0" kern="1200" spc="0" baseline="0" dirty="0" err="1">
                <a:solidFill>
                  <a:srgbClr val="000000"/>
                </a:solidFill>
                <a:effectLst/>
              </a:rPr>
              <a:t>Impact</a:t>
            </a:r>
            <a:r>
              <a:rPr lang="es-ES" sz="1600" b="1" i="0" kern="1200" spc="0" baseline="0" dirty="0">
                <a:solidFill>
                  <a:srgbClr val="000000"/>
                </a:solidFill>
                <a:effectLst/>
              </a:rPr>
              <a:t> </a:t>
            </a:r>
            <a:r>
              <a:rPr lang="es-ES" sz="1600" b="1" i="0" kern="1200" spc="0" baseline="0" dirty="0" err="1">
                <a:solidFill>
                  <a:srgbClr val="000000"/>
                </a:solidFill>
                <a:effectLst/>
              </a:rPr>
              <a:t>of</a:t>
            </a:r>
            <a:r>
              <a:rPr lang="es-ES" sz="1600" b="1" i="0" kern="1200" spc="0" baseline="0" dirty="0">
                <a:solidFill>
                  <a:srgbClr val="000000"/>
                </a:solidFill>
                <a:effectLst/>
              </a:rPr>
              <a:t> </a:t>
            </a:r>
            <a:r>
              <a:rPr lang="es-ES" sz="1600" b="1" i="0" kern="1200" spc="0" baseline="0" dirty="0" err="1">
                <a:solidFill>
                  <a:srgbClr val="000000"/>
                </a:solidFill>
                <a:effectLst/>
              </a:rPr>
              <a:t>Vitamins</a:t>
            </a:r>
            <a:r>
              <a:rPr lang="es-ES" sz="1600" b="1" i="0" kern="1200" spc="0" baseline="0" dirty="0">
                <a:solidFill>
                  <a:srgbClr val="000000"/>
                </a:solidFill>
                <a:effectLst/>
              </a:rPr>
              <a:t> </a:t>
            </a:r>
            <a:r>
              <a:rPr lang="es-ES" sz="1600" b="1" i="0" kern="1200" spc="0" baseline="0" dirty="0" err="1">
                <a:solidFill>
                  <a:srgbClr val="000000"/>
                </a:solidFill>
                <a:effectLst/>
              </a:rPr>
              <a:t>on</a:t>
            </a:r>
            <a:r>
              <a:rPr lang="es-ES" sz="1600" b="1" i="0" kern="1200" spc="0" baseline="0" dirty="0">
                <a:solidFill>
                  <a:srgbClr val="000000"/>
                </a:solidFill>
                <a:effectLst/>
              </a:rPr>
              <a:t> </a:t>
            </a:r>
            <a:r>
              <a:rPr lang="es-ES" sz="1600" b="1" i="0" kern="1200" spc="0" baseline="0" dirty="0" err="1">
                <a:solidFill>
                  <a:srgbClr val="000000"/>
                </a:solidFill>
                <a:effectLst/>
              </a:rPr>
              <a:t>Feed</a:t>
            </a:r>
            <a:r>
              <a:rPr lang="es-ES" sz="1600" b="1" i="0" kern="1200" spc="0" baseline="0" dirty="0">
                <a:solidFill>
                  <a:srgbClr val="000000"/>
                </a:solidFill>
                <a:effectLst/>
              </a:rPr>
              <a:t> Price </a:t>
            </a:r>
            <a:r>
              <a:rPr lang="es-ES" sz="1200" b="0" i="0" kern="1200" spc="0" baseline="0" dirty="0">
                <a:solidFill>
                  <a:srgbClr val="000000"/>
                </a:solidFill>
                <a:effectLst/>
              </a:rPr>
              <a:t>(EUR/T </a:t>
            </a:r>
            <a:r>
              <a:rPr lang="es-ES" sz="1200" b="0" i="0" kern="1200" spc="0" baseline="0" dirty="0" err="1">
                <a:solidFill>
                  <a:srgbClr val="000000"/>
                </a:solidFill>
                <a:effectLst/>
              </a:rPr>
              <a:t>feed</a:t>
            </a:r>
            <a:r>
              <a:rPr lang="es-ES" sz="1200" b="0" i="0" kern="1200" spc="0" baseline="0" dirty="0">
                <a:solidFill>
                  <a:srgbClr val="000000"/>
                </a:solidFill>
                <a:effectLst/>
              </a:rPr>
              <a:t>)* </a:t>
            </a:r>
            <a:endParaRPr lang="en-US" sz="1600" dirty="0">
              <a:effectLst/>
            </a:endParaRPr>
          </a:p>
        </c:rich>
      </c:tx>
      <c:layout>
        <c:manualLayout>
          <c:xMode val="edge"/>
          <c:yMode val="edge"/>
          <c:x val="2.2526046392333503E-2"/>
          <c:y val="3.2026591225885206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035583769273444"/>
          <c:y val="0.18157372839760702"/>
          <c:w val="0.86899837864719376"/>
          <c:h val="0.651513901833507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 formatCode="mmm\-yy">
                  <c:v>44621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40</c:v>
                </c:pt>
                <c:pt idx="1">
                  <c:v>210</c:v>
                </c:pt>
                <c:pt idx="2">
                  <c:v>210</c:v>
                </c:pt>
                <c:pt idx="3">
                  <c:v>270</c:v>
                </c:pt>
                <c:pt idx="4">
                  <c:v>250</c:v>
                </c:pt>
                <c:pt idx="5">
                  <c:v>310</c:v>
                </c:pt>
                <c:pt idx="6">
                  <c:v>275</c:v>
                </c:pt>
                <c:pt idx="7">
                  <c:v>240</c:v>
                </c:pt>
                <c:pt idx="8">
                  <c:v>230</c:v>
                </c:pt>
                <c:pt idx="9">
                  <c:v>250</c:v>
                </c:pt>
                <c:pt idx="10">
                  <c:v>250</c:v>
                </c:pt>
                <c:pt idx="11">
                  <c:v>262</c:v>
                </c:pt>
                <c:pt idx="12">
                  <c:v>349</c:v>
                </c:pt>
                <c:pt idx="13">
                  <c:v>405</c:v>
                </c:pt>
                <c:pt idx="14">
                  <c:v>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58-48A3-917A-8F1255EFE14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tamins</c:v>
                </c:pt>
              </c:strCache>
            </c:strRef>
          </c:tx>
          <c:spPr>
            <a:solidFill>
              <a:srgbClr val="FF9900"/>
            </a:solidFill>
            <a:ln>
              <a:noFill/>
            </a:ln>
            <a:effectLst/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 formatCode="mmm\-yy">
                  <c:v>44621</c:v>
                </c:pt>
              </c:numCache>
            </c:num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.5</c:v>
                </c:pt>
                <c:pt idx="1">
                  <c:v>3</c:v>
                </c:pt>
                <c:pt idx="2">
                  <c:v>2.8</c:v>
                </c:pt>
                <c:pt idx="3">
                  <c:v>2.8</c:v>
                </c:pt>
                <c:pt idx="4">
                  <c:v>2.8</c:v>
                </c:pt>
                <c:pt idx="5">
                  <c:v>2.7</c:v>
                </c:pt>
                <c:pt idx="6">
                  <c:v>2.2000000000000002</c:v>
                </c:pt>
                <c:pt idx="7">
                  <c:v>2.1</c:v>
                </c:pt>
                <c:pt idx="8">
                  <c:v>2.2000000000000002</c:v>
                </c:pt>
                <c:pt idx="9">
                  <c:v>2.8</c:v>
                </c:pt>
                <c:pt idx="10">
                  <c:v>6.8</c:v>
                </c:pt>
                <c:pt idx="11">
                  <c:v>4.5</c:v>
                </c:pt>
                <c:pt idx="12">
                  <c:v>3.5</c:v>
                </c:pt>
                <c:pt idx="13">
                  <c:v>3.3</c:v>
                </c:pt>
                <c:pt idx="14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58-48A3-917A-8F1255EFE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30368248"/>
        <c:axId val="1"/>
      </c:barChart>
      <c:catAx>
        <c:axId val="230368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673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 w="9673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low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6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30368248"/>
        <c:crosses val="autoZero"/>
        <c:crossBetween val="between"/>
        <c:majorUnit val="50"/>
      </c:valAx>
      <c:spPr>
        <a:noFill/>
        <a:ln w="25794">
          <a:noFill/>
        </a:ln>
      </c:spPr>
    </c:plotArea>
    <c:legend>
      <c:legendPos val="r"/>
      <c:layout>
        <c:manualLayout>
          <c:xMode val="edge"/>
          <c:yMode val="edge"/>
          <c:x val="0.330029675270336"/>
          <c:y val="0.88239102706232642"/>
          <c:w val="0.32708333333333334"/>
          <c:h val="7.526881720430107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59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9-26T13:54:27.396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2776 25,'0'-1,"-1"0,1 0,-1 0,1 0,-1-1,0 1,1 1,-1-1,0 0,0 0,0 0,1 0,-1 0,0 1,0-1,0 0,0 1,-1-1,1 1,0-1,0 1,0-1,0 1,0 0,-1 0,1 0,-2 0,-39-5,38 5,-27 1,-1 1,1 2,1 1,-1 1,1 2,-49 19,-8 1,43-12,0 2,2 2,0 2,-71 50,67-41,-2-2,-101 45,95-54,-123 51,151-59,1 2,0 1,0 0,-32 29,3-2,-96 59,89-63,-14 9,5-3,-87 70,17 1,-141 128,210-165,34-36,-44 38,80-79,-54 47,-85 58,96-73,27-17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60FDFA-35B0-4B5C-B05E-E5821494F73A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08AE83-C978-4DFD-8049-97DBDCF2B9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412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36DC39-6421-4FD2-B7B9-2B7F9CF5621E}" type="slidenum">
              <a:rPr kumimoji="0" lang="nl-NL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alt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31356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430 kam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F650B-D63F-48CD-AD98-306697F20035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74458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Gizai</a:t>
            </a:r>
            <a:r>
              <a:rPr lang="fr-FR" dirty="0"/>
              <a:t> </a:t>
            </a:r>
            <a:r>
              <a:rPr lang="fr-FR" dirty="0" err="1"/>
              <a:t>nagy</a:t>
            </a:r>
            <a:r>
              <a:rPr lang="fr-FR" dirty="0"/>
              <a:t> </a:t>
            </a:r>
            <a:r>
              <a:rPr lang="fr-FR" dirty="0" err="1"/>
              <a:t>piramis</a:t>
            </a:r>
            <a:r>
              <a:rPr lang="fr-FR" dirty="0"/>
              <a:t>: </a:t>
            </a:r>
            <a:r>
              <a:rPr lang="hu-HU" dirty="0"/>
              <a:t>	</a:t>
            </a:r>
            <a:r>
              <a:rPr lang="fr-FR" dirty="0"/>
              <a:t>2 484 448</a:t>
            </a:r>
          </a:p>
          <a:p>
            <a:r>
              <a:rPr lang="fr-FR" dirty="0" err="1"/>
              <a:t>Hafré</a:t>
            </a:r>
            <a:r>
              <a:rPr lang="fr-FR" dirty="0"/>
              <a:t> </a:t>
            </a:r>
            <a:r>
              <a:rPr lang="fr-FR" dirty="0" err="1"/>
              <a:t>piramis</a:t>
            </a:r>
            <a:r>
              <a:rPr lang="fr-FR" dirty="0"/>
              <a:t>	</a:t>
            </a:r>
            <a:r>
              <a:rPr lang="hu-HU" dirty="0"/>
              <a:t>     	</a:t>
            </a:r>
            <a:r>
              <a:rPr lang="fr-FR" dirty="0"/>
              <a:t>2 106 587</a:t>
            </a:r>
          </a:p>
          <a:p>
            <a:r>
              <a:rPr lang="fr-FR" dirty="0" err="1"/>
              <a:t>Menkauré</a:t>
            </a:r>
            <a:r>
              <a:rPr lang="fr-FR" dirty="0"/>
              <a:t> </a:t>
            </a:r>
            <a:r>
              <a:rPr lang="fr-FR" dirty="0" err="1"/>
              <a:t>piramis</a:t>
            </a:r>
            <a:r>
              <a:rPr lang="hu-HU" dirty="0"/>
              <a:t>      	   </a:t>
            </a:r>
            <a:r>
              <a:rPr lang="fr-FR" dirty="0"/>
              <a:t>233 432</a:t>
            </a:r>
          </a:p>
          <a:p>
            <a:r>
              <a:rPr lang="hu-HU" dirty="0"/>
              <a:t>Total</a:t>
            </a:r>
            <a:r>
              <a:rPr lang="fr-FR" dirty="0"/>
              <a:t>	</a:t>
            </a:r>
            <a:r>
              <a:rPr lang="hu-HU" dirty="0"/>
              <a:t>       	</a:t>
            </a:r>
            <a:r>
              <a:rPr lang="fr-FR" dirty="0"/>
              <a:t>4 824 467</a:t>
            </a:r>
          </a:p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F650B-D63F-48CD-AD98-306697F20035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63597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altLang="es-ES" sz="1200" i="1" dirty="0"/>
              <a:t>-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olatility</a:t>
            </a:r>
            <a:r>
              <a:rPr lang="es-ES_tradnl" altLang="es-ES" sz="1200" i="1" dirty="0"/>
              <a:t>: severe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A and E </a:t>
            </a:r>
            <a:r>
              <a:rPr lang="es-ES_tradnl" altLang="es-ES" sz="1200" i="1" dirty="0" err="1"/>
              <a:t>shortage</a:t>
            </a:r>
            <a:r>
              <a:rPr lang="es-ES_tradnl" altLang="es-ES" sz="1200" i="1" dirty="0"/>
              <a:t> (and </a:t>
            </a:r>
            <a:r>
              <a:rPr lang="es-ES_tradnl" altLang="es-ES" sz="1200" i="1" dirty="0" err="1"/>
              <a:t>som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ther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s</a:t>
            </a:r>
            <a:r>
              <a:rPr lang="es-ES_tradnl" altLang="es-ES" sz="1200" i="1" dirty="0"/>
              <a:t>) </a:t>
            </a:r>
            <a:r>
              <a:rPr lang="es-ES_tradnl" altLang="es-ES" sz="1200" i="1" dirty="0" err="1"/>
              <a:t>du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to</a:t>
            </a:r>
            <a:r>
              <a:rPr lang="es-ES_tradnl" altLang="es-ES" sz="1200" i="1" dirty="0"/>
              <a:t> Basf Quality </a:t>
            </a:r>
            <a:r>
              <a:rPr lang="es-ES_tradnl" altLang="es-ES" sz="1200" i="1" dirty="0" err="1"/>
              <a:t>issues</a:t>
            </a:r>
            <a:r>
              <a:rPr lang="es-ES_tradnl" altLang="es-ES" sz="1200" i="1" dirty="0"/>
              <a:t> and </a:t>
            </a:r>
            <a:r>
              <a:rPr lang="es-ES_tradnl" altLang="es-ES" sz="1200" i="1" dirty="0" err="1"/>
              <a:t>Chines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Governmen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restrictions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impacting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oductio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du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to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environmental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issues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riginated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unprecedented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olatitliy</a:t>
            </a:r>
            <a:r>
              <a:rPr lang="es-ES_tradnl" altLang="es-ES" sz="1200" i="1" dirty="0"/>
              <a:t> in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vailability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with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eak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ices</a:t>
            </a:r>
            <a:r>
              <a:rPr lang="es-ES_tradnl" altLang="es-ES" sz="1200" i="1" dirty="0"/>
              <a:t> in 2018 (</a:t>
            </a:r>
            <a:r>
              <a:rPr lang="es-ES_tradnl" altLang="es-ES" sz="1200" i="1" dirty="0" err="1"/>
              <a:t>highes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ices</a:t>
            </a:r>
            <a:r>
              <a:rPr lang="es-ES_tradnl" altLang="es-ES" sz="1200" i="1" dirty="0"/>
              <a:t> in </a:t>
            </a:r>
            <a:r>
              <a:rPr lang="es-ES_tradnl" altLang="es-ES" sz="1200" i="1" dirty="0" err="1"/>
              <a:t>decades</a:t>
            </a:r>
            <a:r>
              <a:rPr lang="es-ES_tradnl" altLang="es-ES" sz="1200" i="1" dirty="0"/>
              <a:t>).</a:t>
            </a:r>
          </a:p>
          <a:p>
            <a:endParaRPr lang="es-ES_tradnl" altLang="es-ES" sz="1200" i="1" dirty="0"/>
          </a:p>
          <a:p>
            <a:r>
              <a:rPr lang="es-ES_tradnl" altLang="es-ES" sz="1200" i="1" dirty="0"/>
              <a:t>*</a:t>
            </a:r>
            <a:r>
              <a:rPr lang="es-ES_tradnl" altLang="es-ES" sz="1200" i="1" dirty="0" err="1"/>
              <a:t>Approx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cos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f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verag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levels</a:t>
            </a:r>
            <a:r>
              <a:rPr lang="es-ES_tradnl" altLang="es-ES" sz="1200" i="1" dirty="0"/>
              <a:t> (</a:t>
            </a:r>
            <a:r>
              <a:rPr lang="es-ES_tradnl" altLang="es-ES" sz="1200" i="1" dirty="0" err="1"/>
              <a:t>withou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HyD</a:t>
            </a:r>
            <a:r>
              <a:rPr lang="es-ES_tradnl" altLang="es-ES" sz="1200" i="1" dirty="0"/>
              <a:t>, </a:t>
            </a:r>
            <a:r>
              <a:rPr lang="es-ES_tradnl" altLang="es-ES" sz="1200" i="1" dirty="0" err="1"/>
              <a:t>vit</a:t>
            </a:r>
            <a:r>
              <a:rPr lang="es-ES_tradnl" altLang="es-ES" sz="1200" i="1" dirty="0"/>
              <a:t> C) in </a:t>
            </a:r>
            <a:r>
              <a:rPr lang="es-ES_tradnl" altLang="es-ES" sz="1200" i="1" dirty="0" err="1"/>
              <a:t>broiler</a:t>
            </a:r>
            <a:r>
              <a:rPr lang="es-ES_tradnl" altLang="es-ES" sz="1200" i="1" dirty="0"/>
              <a:t> feed in Latam (</a:t>
            </a:r>
            <a:r>
              <a:rPr lang="es-ES_tradnl" altLang="es-ES" sz="1200" i="1" dirty="0" err="1"/>
              <a:t>Brazil</a:t>
            </a:r>
            <a:r>
              <a:rPr lang="es-ES_tradnl" altLang="es-ES" sz="1200" i="1" dirty="0"/>
              <a:t>, </a:t>
            </a:r>
            <a:r>
              <a:rPr lang="es-ES_tradnl" altLang="es-ES" sz="1200" i="1" dirty="0" err="1"/>
              <a:t>Mexico</a:t>
            </a:r>
            <a:r>
              <a:rPr lang="es-ES_tradnl" altLang="es-ES" sz="1200" i="1" dirty="0"/>
              <a:t>, Colombia, </a:t>
            </a:r>
            <a:r>
              <a:rPr lang="es-ES_tradnl" altLang="es-ES" sz="1200" i="1" dirty="0" err="1"/>
              <a:t>Peru</a:t>
            </a:r>
            <a:r>
              <a:rPr lang="es-ES_tradnl" altLang="es-ES" sz="1200" i="1" dirty="0"/>
              <a:t>), March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3594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altLang="es-ES" sz="1200" i="1" dirty="0"/>
              <a:t>-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olatility</a:t>
            </a:r>
            <a:r>
              <a:rPr lang="es-ES_tradnl" altLang="es-ES" sz="1200" i="1" dirty="0"/>
              <a:t>: severe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A and E </a:t>
            </a:r>
            <a:r>
              <a:rPr lang="es-ES_tradnl" altLang="es-ES" sz="1200" i="1" dirty="0" err="1"/>
              <a:t>shortage</a:t>
            </a:r>
            <a:r>
              <a:rPr lang="es-ES_tradnl" altLang="es-ES" sz="1200" i="1" dirty="0"/>
              <a:t> (and </a:t>
            </a:r>
            <a:r>
              <a:rPr lang="es-ES_tradnl" altLang="es-ES" sz="1200" i="1" dirty="0" err="1"/>
              <a:t>som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ther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s</a:t>
            </a:r>
            <a:r>
              <a:rPr lang="es-ES_tradnl" altLang="es-ES" sz="1200" i="1" dirty="0"/>
              <a:t>) </a:t>
            </a:r>
            <a:r>
              <a:rPr lang="es-ES_tradnl" altLang="es-ES" sz="1200" i="1" dirty="0" err="1"/>
              <a:t>du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to</a:t>
            </a:r>
            <a:r>
              <a:rPr lang="es-ES_tradnl" altLang="es-ES" sz="1200" i="1" dirty="0"/>
              <a:t> Basf Quality </a:t>
            </a:r>
            <a:r>
              <a:rPr lang="es-ES_tradnl" altLang="es-ES" sz="1200" i="1" dirty="0" err="1"/>
              <a:t>issues</a:t>
            </a:r>
            <a:r>
              <a:rPr lang="es-ES_tradnl" altLang="es-ES" sz="1200" i="1" dirty="0"/>
              <a:t> and </a:t>
            </a:r>
            <a:r>
              <a:rPr lang="es-ES_tradnl" altLang="es-ES" sz="1200" i="1" dirty="0" err="1"/>
              <a:t>Chines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Governmen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restrictions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impacting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oductio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du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to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environmental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issues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riginated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unprecedented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olatitliy</a:t>
            </a:r>
            <a:r>
              <a:rPr lang="es-ES_tradnl" altLang="es-ES" sz="1200" i="1" dirty="0"/>
              <a:t> in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vailability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with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eak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ices</a:t>
            </a:r>
            <a:r>
              <a:rPr lang="es-ES_tradnl" altLang="es-ES" sz="1200" i="1" dirty="0"/>
              <a:t> in 2018 (</a:t>
            </a:r>
            <a:r>
              <a:rPr lang="es-ES_tradnl" altLang="es-ES" sz="1200" i="1" dirty="0" err="1"/>
              <a:t>highes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ices</a:t>
            </a:r>
            <a:r>
              <a:rPr lang="es-ES_tradnl" altLang="es-ES" sz="1200" i="1" dirty="0"/>
              <a:t> in </a:t>
            </a:r>
            <a:r>
              <a:rPr lang="es-ES_tradnl" altLang="es-ES" sz="1200" i="1" dirty="0" err="1"/>
              <a:t>decades</a:t>
            </a:r>
            <a:r>
              <a:rPr lang="es-ES_tradnl" altLang="es-ES" sz="1200" i="1" dirty="0"/>
              <a:t>).</a:t>
            </a:r>
          </a:p>
          <a:p>
            <a:endParaRPr lang="es-ES_tradnl" altLang="es-ES" sz="1200" i="1" dirty="0"/>
          </a:p>
          <a:p>
            <a:r>
              <a:rPr lang="es-ES_tradnl" altLang="es-ES" sz="1200" i="1" dirty="0"/>
              <a:t>*</a:t>
            </a:r>
            <a:r>
              <a:rPr lang="es-ES_tradnl" altLang="es-ES" sz="1200" i="1" dirty="0" err="1"/>
              <a:t>Approx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cos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f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verag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levels</a:t>
            </a:r>
            <a:r>
              <a:rPr lang="es-ES_tradnl" altLang="es-ES" sz="1200" i="1" dirty="0"/>
              <a:t> (</a:t>
            </a:r>
            <a:r>
              <a:rPr lang="es-ES_tradnl" altLang="es-ES" sz="1200" i="1" dirty="0" err="1"/>
              <a:t>withou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HyD</a:t>
            </a:r>
            <a:r>
              <a:rPr lang="es-ES_tradnl" altLang="es-ES" sz="1200" i="1" dirty="0"/>
              <a:t>, </a:t>
            </a:r>
            <a:r>
              <a:rPr lang="es-ES_tradnl" altLang="es-ES" sz="1200" i="1" dirty="0" err="1"/>
              <a:t>vit</a:t>
            </a:r>
            <a:r>
              <a:rPr lang="es-ES_tradnl" altLang="es-ES" sz="1200" i="1" dirty="0"/>
              <a:t> C) in </a:t>
            </a:r>
            <a:r>
              <a:rPr lang="es-ES_tradnl" altLang="es-ES" sz="1200" i="1" dirty="0" err="1"/>
              <a:t>broiler</a:t>
            </a:r>
            <a:r>
              <a:rPr lang="es-ES_tradnl" altLang="es-ES" sz="1200" i="1" dirty="0"/>
              <a:t> feed in Latam (</a:t>
            </a:r>
            <a:r>
              <a:rPr lang="es-ES_tradnl" altLang="es-ES" sz="1200" i="1" dirty="0" err="1"/>
              <a:t>Brazil</a:t>
            </a:r>
            <a:r>
              <a:rPr lang="es-ES_tradnl" altLang="es-ES" sz="1200" i="1" dirty="0"/>
              <a:t>, </a:t>
            </a:r>
            <a:r>
              <a:rPr lang="es-ES_tradnl" altLang="es-ES" sz="1200" i="1" dirty="0" err="1"/>
              <a:t>Mexico</a:t>
            </a:r>
            <a:r>
              <a:rPr lang="es-ES_tradnl" altLang="es-ES" sz="1200" i="1" dirty="0"/>
              <a:t>, Colombia, </a:t>
            </a:r>
            <a:r>
              <a:rPr lang="es-ES_tradnl" altLang="es-ES" sz="1200" i="1" dirty="0" err="1"/>
              <a:t>Peru</a:t>
            </a:r>
            <a:r>
              <a:rPr lang="es-ES_tradnl" altLang="es-ES" sz="1200" i="1" dirty="0"/>
              <a:t>), March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0550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Trebuchet M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8276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7.xml"/><Relationship Id="rId7" Type="http://schemas.openxmlformats.org/officeDocument/2006/relationships/image" Target="../media/image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2.png"/><Relationship Id="rId2" Type="http://schemas.openxmlformats.org/officeDocument/2006/relationships/tags" Target="../tags/tag5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1.xml"/><Relationship Id="rId7" Type="http://schemas.openxmlformats.org/officeDocument/2006/relationships/image" Target="../media/image13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5.xml"/><Relationship Id="rId7" Type="http://schemas.openxmlformats.org/officeDocument/2006/relationships/image" Target="../media/image13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5.xml"/><Relationship Id="rId7" Type="http://schemas.openxmlformats.org/officeDocument/2006/relationships/image" Target="../media/image13.png"/><Relationship Id="rId2" Type="http://schemas.openxmlformats.org/officeDocument/2006/relationships/tags" Target="../tags/tag8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6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2.png"/><Relationship Id="rId2" Type="http://schemas.openxmlformats.org/officeDocument/2006/relationships/tags" Target="../tags/tag8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1.xml"/><Relationship Id="rId7" Type="http://schemas.openxmlformats.org/officeDocument/2006/relationships/image" Target="../media/image1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5.xml"/><Relationship Id="rId7" Type="http://schemas.openxmlformats.org/officeDocument/2006/relationships/image" Target="../media/image1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17.xml"/><Relationship Id="rId7" Type="http://schemas.openxmlformats.org/officeDocument/2006/relationships/image" Target="../media/image13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6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9039F-F31E-40B9-973D-5FD9C1FA85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D76B59-6005-4520-BB0A-51B90F350F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0FC45A-40D9-4863-93B5-66C3808FA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0B1B7B-5D1A-46C2-8392-4A3124949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98E10-D72B-488D-86FE-BBF67C478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1609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677D3-81C4-47F0-BDC9-0B97A1633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07BAC8-A76C-4E4A-898C-1E97486052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4206E8-AB58-4515-AB15-88D0905EAF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FE26FE-AF5F-4541-BDAD-5AF3B9C739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A92CFE-BFC0-49DA-BEAE-E16EAB365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14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FD6BB10-1B0A-41F3-AE88-33FEAADB4A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84D585-11D1-47E7-ACFF-3723CD19A1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103FEB-9D62-4D08-B64C-0454D47C0F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ECC90-0626-4175-AB4A-A60610DED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BE681B-B4FB-4189-9AAF-18227F5CA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7422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944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ira Sans" panose="020B05030500000200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313027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Regular" panose="020B05030500000200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612969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C5D8D-FBCE-4757-9505-AD957A1EE5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053D01-934E-4F53-98F5-F9451308B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8224F9-78A0-44A4-B153-44F2C809B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86275B-D2BE-477E-A70F-9660B3145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00AE81-AD30-431A-9FC8-5244D98EE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95045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23B2D-17FE-4844-A366-9ECDF43EC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5F25BB-2BFD-4027-9723-8BED462C94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AF0AE-8F0B-49EE-AF1D-3DF229138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95A87C-88F0-40BE-B0A2-93EADCAC50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1EF9D9-41B3-4594-81E2-7E847A762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895821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193F8-154A-4589-8EA4-3C77FC4E3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C54C80-EF34-4D25-BE07-F871EE5841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D40955-0B3C-486D-8174-6178DF6BF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C9773C-18C9-4F4E-8B15-9C995CB56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5D3FAA-3B25-412C-9BB2-BC31EB2E4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16428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B00A7-7B11-41C8-A1A1-CCC496586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C486B-25C0-4108-AA62-86147266CD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12DE00-6CDC-4EF6-B5D1-191410D4BB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B4ABA-6943-4C9E-8908-6BD604CE75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C73F02-636A-444D-BC01-3DDF8063F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169992-78E4-4E4D-BCBF-D333D6D1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866594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3DC810-6AD4-4E09-B50C-68BB3BDF5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F32CB6-9931-40C1-93A4-E71C7D7037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E0365F-A896-43C9-AB14-78983039E0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60C90E-4139-463F-9FC0-24D8CA4119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14C593-61F5-4F5C-BCBC-99238A5C5C3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F33F8F1-1500-413F-8F50-CAA6E56F4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5A62D5-E19C-4051-9563-36EF2C393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14A0091-828D-4635-8C8C-7484DE796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783430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D7E50A-AEF3-499A-91D6-D3C7BD1E8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F8B734-ADD8-44EF-A9AA-D17E8E0BA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B7674F-2649-4691-8325-103A37D4F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638EEE-663C-4B3A-8D3D-33C15AD7C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01997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830C6-C889-4400-84B0-47AF6E5F1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ED191-C298-4194-822A-B5079BEBC3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A437CE-E353-4229-9F56-8C9390D50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22ADE-47C5-489F-88D4-FE8FB292C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AECE8-5B63-476B-950A-13C10A160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726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4FB21B-85F5-4A50-BBEF-C05A56F3F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EB52B8-30A6-44D7-90A0-B24EC27A87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0D3048-7F76-47BA-987C-C90592B91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995311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24D72-8E62-42E5-AD7F-C8E0DC75E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CD203D-4BAD-4FC6-9CEE-A279EDEB6D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DB48F0-D64F-4AD9-8C14-1B10BC4944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69C24D-59A3-45D3-B791-48AF93646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E349A6-52E4-4C29-B282-45BD9966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EC775E-F707-464E-9136-F5110AD1D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225742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9D627-CF94-495A-883A-E1B9205E5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4BEDA7-8FD9-45DC-B3A5-F20AC1C8F7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B02E7B-5BB4-4574-AF68-D0AA0C1017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6BD3C2-3D93-48F8-9FF0-C5BFC50BC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1ECA9F-DC92-4EE9-8EC0-EDA46ADB35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1D51FC-F354-42A8-B79F-139DB3C94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496270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43AE5C-539B-45B9-A590-F25C12574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AF5393-B78E-4DDA-87B3-7BAE63F084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799A18-57BC-4E4B-9EF8-6C436C776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EB3621-565A-4AB5-918F-7BA582F69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A7E9DF-DC42-4AFD-85CC-BB3A5CDAD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145060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7735B6C-C0F4-4DE4-AC22-70C4ED0D31C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6A3A24-4697-4D1F-9EA5-45002F3468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3A5278-B667-48E2-B366-94FB631E1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FC4DA5-4093-4407-91C8-3D254B89D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444B11-6468-4E95-ACBA-F682C83C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3539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25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841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44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3EA9692-0ED5-484D-87E7-AB6028AFB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7063" y="4644811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6EAFA9-6F43-6C47-B02C-42F4DA83E1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8350318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30FEF9-13C6-49AD-BADC-B222739050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316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30FEF9-13C6-49AD-BADC-B22273905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CC9449-DAE9-4B33-8F63-09E10883ED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auto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auto"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1CBB47-F02A-2346-8EA8-8352E7AFC2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97063" y="4644811"/>
            <a:ext cx="9694937" cy="221318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8F039EC-ED76-4766-8537-03B353F231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5DA9896-9655-46F6-A88D-087362D55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7378506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029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367935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ltGray"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8EBEAFB-93C3-074C-9906-1D124DCCA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5E17CF1-21EE-4F02-912D-E11EFDC99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065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595A89-2E7A-4BA1-B0E0-1C033A993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4412C1-068A-40DA-B9FD-8FDE11D22D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D40BB3-C82F-4831-8A2E-683D015E22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83C67-712D-4245-84DA-DF56D7CB5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EB930-F9F5-4AF2-B965-F5EA7DA12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653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430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FBD3E-297D-4BC3-94BA-F7DADB32A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8652482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5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505914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17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41533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444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912086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08185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Regular" panose="020B05030500000200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55178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ontent Slide 1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E6CAF7-AA7B-48CD-A4C0-07C7BA0B9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A08D57-1059-4625-84A3-FC9B186C1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92216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830C6-C889-4400-84B0-47AF6E5F1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ED191-C298-4194-822A-B5079BEBC3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A437CE-E353-4229-9F56-8C9390D50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22ADE-47C5-489F-88D4-FE8FB292C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AECE8-5B63-476B-950A-13C10A160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1514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SM_cover_blue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" y="0"/>
            <a:ext cx="12206817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166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7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5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6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63113" y="256540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8" name="Text Box 1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63113" y="2846388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29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1" name="hl"/>
          <p:cNvSpPr txBox="1"/>
          <p:nvPr userDrawn="1"/>
        </p:nvSpPr>
        <p:spPr>
          <a:xfrm>
            <a:off x="0" y="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en-US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5176142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6736" y="779997"/>
            <a:ext cx="8629650" cy="46782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D623D0F-5353-437A-A3C1-D73D4D1AE50F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943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EE05FC-52F2-4689-B821-87924CC2F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FB8104-D0B0-4B4B-8F8F-F5B4F67FD0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3236A-F1B9-41FC-AA00-5172E00145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643FA5-2A6F-4E59-8608-456F09896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7F4B80-02C3-486F-9EED-3B78298E8F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135F5A-7FB4-4A68-B630-C61389C14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2288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42"/>
            <a:ext cx="103632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4099165"/>
            <a:ext cx="103632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729A42E-2DBF-4561-A192-B9D22285D4D9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9997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6736" y="779997"/>
            <a:ext cx="8629650" cy="46782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82134" y="1773238"/>
            <a:ext cx="4201584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6922" y="1773238"/>
            <a:ext cx="4201583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8CCA5B-058A-4E86-BD11-ECB44B68E846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215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949818"/>
            <a:ext cx="10972800" cy="467820"/>
          </a:xfrm>
        </p:spPr>
        <p:txBody>
          <a:bodyPr/>
          <a:lstStyle>
            <a:lvl1pPr>
              <a:defRPr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805543"/>
            <a:ext cx="5386917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2" y="1805543"/>
            <a:ext cx="538903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C4BD841-723D-493C-AC9F-0CF877D555D9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5965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6736" y="779997"/>
            <a:ext cx="8629650" cy="46782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DB1D280-E40F-4DDB-800B-666D009D2569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0126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E047163-B409-4268-B619-38C4B46229D5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3851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850367"/>
            <a:ext cx="4011084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6" y="273092"/>
            <a:ext cx="6815666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0" y="1435100"/>
            <a:ext cx="401108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984FA0B-0598-4A19-AC1F-262FF74A4B97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1658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5074950"/>
            <a:ext cx="73152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8"/>
            <a:ext cx="73152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E6C53DA-032F-44E7-BD7E-13B3C5C0FA87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77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6736" y="779997"/>
            <a:ext cx="8629650" cy="46782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660450" y="1773280"/>
            <a:ext cx="10248960" cy="1373187"/>
          </a:xfrm>
        </p:spPr>
        <p:txBody>
          <a:bodyPr vert="eaVert"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CF80C77-DEAF-459C-87FD-A0AD045CEBF3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9218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431617" y="784225"/>
            <a:ext cx="1871282" cy="2362200"/>
          </a:xfrm>
        </p:spPr>
        <p:txBody>
          <a:bodyPr vert="eaVert"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627431" y="784225"/>
            <a:ext cx="3600986" cy="2362200"/>
          </a:xfrm>
        </p:spPr>
        <p:txBody>
          <a:bodyPr vert="eaVert"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2999644-5F93-490C-9E0F-F95CF3110141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0322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2860731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20696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DDAFB-AA72-4014-B5A2-919B8EEB1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9288CB-E93F-46C0-BE3D-3BF5554CB7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4F8387-275B-44B3-A52D-8CA22A6944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FD28CA-D0F9-49A2-B79B-628A44F4EE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CEC246-101F-4B2B-A987-676021EED6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B10578-5E35-4E53-A21F-9D11BD0D1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07276D-3428-4B71-B653-2ACC37282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08EB7DB-571F-4D24-9B73-9A7AD09A4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4614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0" descr="DSM_cover_multi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166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6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5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69434" y="2176505"/>
            <a:ext cx="8534400" cy="1846659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eaLnBrk="1" hangingPunct="1"/>
            <a:r>
              <a:rPr lang="en-US" altLang="zh-CN" sz="3600" b="1">
                <a:latin typeface="Arial" pitchFamily="34" charset="0"/>
                <a:cs typeface="Arial" pitchFamily="34" charset="0"/>
              </a:rPr>
              <a:t>Monthly Business Review</a:t>
            </a:r>
          </a:p>
          <a:p>
            <a:pPr eaLnBrk="1" hangingPunct="1"/>
            <a:endParaRPr lang="en-US" altLang="zh-CN" sz="2800" b="1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zh-CN" sz="2800" b="1">
                <a:latin typeface="Arial" pitchFamily="34" charset="0"/>
                <a:cs typeface="Arial" pitchFamily="34" charset="0"/>
              </a:rPr>
              <a:t>DSM </a:t>
            </a:r>
            <a:r>
              <a:rPr lang="en-US" altLang="zh-CN" sz="2800" b="1" err="1">
                <a:latin typeface="Arial" pitchFamily="34" charset="0"/>
                <a:cs typeface="Arial" pitchFamily="34" charset="0"/>
              </a:rPr>
              <a:t>Jiangshan</a:t>
            </a:r>
            <a:r>
              <a:rPr lang="en-US" altLang="zh-CN" sz="2800" b="1">
                <a:latin typeface="Arial" pitchFamily="34" charset="0"/>
                <a:cs typeface="Arial" pitchFamily="34" charset="0"/>
              </a:rPr>
              <a:t> Site</a:t>
            </a:r>
          </a:p>
          <a:p>
            <a:pPr eaLnBrk="1" hangingPunct="1"/>
            <a:r>
              <a:rPr lang="en-US" altLang="zh-CN" sz="2800" b="1">
                <a:latin typeface="Arial" pitchFamily="34" charset="0"/>
                <a:cs typeface="Arial" pitchFamily="34" charset="0"/>
              </a:rPr>
              <a:t>April, 2015</a:t>
            </a:r>
            <a:endParaRPr lang="zh-CN" altLang="en-US" sz="2800" b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39229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540934" y="6499225"/>
            <a:ext cx="1270000" cy="152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FC8B40-A6AF-4DBF-BBCC-4048FBE937E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320528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540934" y="6499225"/>
            <a:ext cx="1270000" cy="152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952B8-1403-4A24-8E7D-172A27A6AA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620072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944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4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1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75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811800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1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26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776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542FA3C-B111-441A-A03E-8404B1A845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199FE99-79B5-4DCF-87BD-5E9E69F5BF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35186035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Title slide withou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99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F9F516-A356-494E-B06F-D96C6017EB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540000"/>
            <a:ext cx="8473371" cy="1218795"/>
          </a:xfr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DE0E416-3425-4A6B-9CD6-A378559ED4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41DE6B-A190-4DCF-9C25-D7BC88F3FE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885625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33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0996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824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3B8A5-F0B9-4B92-9033-C0E5FF13399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9738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1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2450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78C9E-7CFF-4507-BF72-CDAFFC1DE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887827-3FF5-46DB-93BF-BD6D67AA4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B4AF87-A777-47A7-A44A-C0D0231A5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BCD7DA-F7C6-4B5F-8A54-A6EABD782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9623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55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4407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74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683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93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0940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1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9141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7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8341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88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8031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87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2799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261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2452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692C1B-5892-44B6-A633-38CA66E6F79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20ECC3-E579-40EC-83D9-A249560D80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9306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776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542FA3C-B111-441A-A03E-8404B1A845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199FE99-79B5-4DCF-87BD-5E9E69F5BF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1481355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CF90F3-4256-40F0-8A43-517DE8FCD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5F3192-5B7A-42E2-A22E-F8B29D453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21749-979A-4C63-B655-06265D8F5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2784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Title slide withou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99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F9F516-A356-494E-B06F-D96C6017EB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540000"/>
            <a:ext cx="8473371" cy="1218795"/>
          </a:xfr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DE0E416-3425-4A6B-9CD6-A378559ED4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41DE6B-A190-4DCF-9C25-D7BC88F3FE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39742703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33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7036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824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3B8A5-F0B9-4B92-9033-C0E5FF13399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2566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1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24621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55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0909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74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9242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93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7021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1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335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7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36242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88095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88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916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DC5ADA-52A3-432B-8B20-A9CAFB580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6EE9CC-4125-482F-A81A-190AB27819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4D251-DED8-4921-AF0D-2A2904B045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403111-3EFC-4DAD-85D7-8044198F8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15CBB9-63AF-4B2F-9FC5-A4F0B55BCF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31A10C-43F7-4FF7-B22E-DF6D5225F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93599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87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0474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261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1042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nap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FC1A53-F723-43DA-84D7-F32832A781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B112C1-8A12-499D-A5C6-144C1D435D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64E239-9156-439E-BC01-C60EAFDA7A45}"/>
              </a:ext>
            </a:extLst>
          </p:cNvPr>
          <p:cNvSpPr txBox="1"/>
          <p:nvPr userDrawn="1"/>
        </p:nvSpPr>
        <p:spPr>
          <a:xfrm>
            <a:off x="1415480" y="2707293"/>
            <a:ext cx="46805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prstClr val="black"/>
                </a:solidFill>
                <a:latin typeface="+mn-lt"/>
              </a:rPr>
              <a:t>Prevalence of Mycotoxins Detected </a:t>
            </a:r>
            <a:endParaRPr lang="en-US" sz="16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67F232-8BC4-4D0E-90DF-F58177FF1C99}"/>
              </a:ext>
            </a:extLst>
          </p:cNvPr>
          <p:cNvSpPr txBox="1"/>
          <p:nvPr userDrawn="1"/>
        </p:nvSpPr>
        <p:spPr>
          <a:xfrm>
            <a:off x="8112034" y="2707293"/>
            <a:ext cx="3456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prstClr val="black"/>
                </a:solidFill>
                <a:latin typeface="+mn-lt"/>
              </a:rPr>
              <a:t>No. of Mycotoxins per Sample</a:t>
            </a:r>
            <a:endParaRPr lang="en-US" sz="16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08AB7F8-EB80-4A83-9E64-0EDB4F0CF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/>
          <a:lstStyle>
            <a:lvl1pPr>
              <a:defRPr sz="2800">
                <a:solidFill>
                  <a:srgbClr val="007E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16984761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70065-7B2D-4FE0-AD2F-64E06ECFB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/>
          <a:lstStyle>
            <a:lvl1pPr>
              <a:defRPr sz="2800">
                <a:solidFill>
                  <a:srgbClr val="007E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FC1A53-F723-43DA-84D7-F32832A781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B112C1-8A12-499D-A5C6-144C1D435D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93434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1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8758" y="981693"/>
            <a:ext cx="11574483" cy="490846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9E0D79-C19B-473C-9DF4-08EC3905F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/>
          <a:lstStyle>
            <a:lvl1pPr>
              <a:defRPr sz="2800">
                <a:solidFill>
                  <a:srgbClr val="007E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216225233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692C1B-5892-44B6-A633-38CA66E6F79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20ECC3-E579-40EC-83D9-A249560D80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6662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rang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 dirty="0"/>
              <a:t>Click icon to add image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55FBE8A-992C-CF4C-B9DC-B962CB9CB11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07987" y="540000"/>
            <a:ext cx="10084464" cy="1828193"/>
          </a:xfrm>
          <a:prstGeom prst="rect">
            <a:avLst/>
          </a:prstGeom>
        </p:spPr>
        <p:txBody>
          <a:bodyPr anchor="t" anchorCtr="0"/>
          <a:lstStyle>
            <a:lvl1pPr algn="l">
              <a:defRPr sz="4400" b="0" i="0" baseline="0">
                <a:solidFill>
                  <a:schemeClr val="bg1"/>
                </a:solidFill>
                <a:latin typeface="Fira Sans Medium" panose="020B0503050000020004" pitchFamily="34" charset="0"/>
              </a:defRPr>
            </a:lvl1pPr>
          </a:lstStyle>
          <a:p>
            <a:r>
              <a:rPr lang="en-US" noProof="0" dirty="0"/>
              <a:t>Performance Solutions </a:t>
            </a:r>
            <a:br>
              <a:rPr lang="en-US" noProof="0" dirty="0"/>
            </a:br>
            <a:r>
              <a:rPr lang="en-US" noProof="0" dirty="0"/>
              <a:t>+ BIOMIN® Divider Slide – Insert image</a:t>
            </a:r>
          </a:p>
        </p:txBody>
      </p:sp>
    </p:spTree>
    <p:extLst>
      <p:ext uri="{BB962C8B-B14F-4D97-AF65-F5344CB8AC3E}">
        <p14:creationId xmlns:p14="http://schemas.microsoft.com/office/powerpoint/2010/main" val="40787887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idx="1" hasCustomPrompt="1"/>
          </p:nvPr>
        </p:nvSpPr>
        <p:spPr>
          <a:xfrm>
            <a:off x="335361" y="1268760"/>
            <a:ext cx="11533930" cy="44644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5540945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986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27713944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195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4EB59AE-AC0F-C941-B1DF-02A832F76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16188" y="6338495"/>
            <a:ext cx="592232" cy="1866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B86B44D-B716-B04F-BB0D-287972FF6E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5722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862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3EE2C-DEBD-467D-8070-C750483E6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F519BCC-6EF5-4F37-BE58-5A15280AFD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45D61E-40AA-4D33-8A07-F254F77DD7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0E6C2B-0FE4-4BD1-96F3-22C65662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068EF3-C363-4D8F-B18F-A15D508BB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5843E7-77CA-4B5A-9281-9367D0BF3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449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5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vmlDrawing" Target="../drawings/vmlDrawing4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theme" Target="../theme/theme4.xml"/><Relationship Id="rId26" Type="http://schemas.openxmlformats.org/officeDocument/2006/relationships/tags" Target="../tags/tag35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3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ags" Target="../tags/tag3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tags" Target="../tags/tag2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ags" Target="../tags/tag33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tags" Target="../tags/tag32.xml"/><Relationship Id="rId28" Type="http://schemas.openxmlformats.org/officeDocument/2006/relationships/image" Target="../media/image7.png"/><Relationship Id="rId10" Type="http://schemas.openxmlformats.org/officeDocument/2006/relationships/slideLayout" Target="../slideLayouts/slideLayout47.xml"/><Relationship Id="rId19" Type="http://schemas.openxmlformats.org/officeDocument/2006/relationships/vmlDrawing" Target="../drawings/vmlDrawing15.v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tags" Target="../tags/tag31.xml"/><Relationship Id="rId27" Type="http://schemas.openxmlformats.org/officeDocument/2006/relationships/oleObject" Target="../embeddings/oleObject1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tags" Target="../tags/tag57.xml"/><Relationship Id="rId3" Type="http://schemas.openxmlformats.org/officeDocument/2006/relationships/slideLayout" Target="../slideLayouts/slideLayout57.xml"/><Relationship Id="rId21" Type="http://schemas.openxmlformats.org/officeDocument/2006/relationships/image" Target="../media/image11.png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tags" Target="../tags/tag56.xml"/><Relationship Id="rId2" Type="http://schemas.openxmlformats.org/officeDocument/2006/relationships/slideLayout" Target="../slideLayouts/slideLayout56.xml"/><Relationship Id="rId16" Type="http://schemas.openxmlformats.org/officeDocument/2006/relationships/vmlDrawing" Target="../drawings/vmlDrawing2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4.xml"/><Relationship Id="rId19" Type="http://schemas.openxmlformats.org/officeDocument/2006/relationships/oleObject" Target="../embeddings/oleObject21.bin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oleObject" Target="../embeddings/oleObject36.bin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tags" Target="../tags/tag87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tags" Target="../tags/tag86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vmlDrawing" Target="../drawings/vmlDrawing36.vml"/><Relationship Id="rId28" Type="http://schemas.openxmlformats.org/officeDocument/2006/relationships/image" Target="../media/image11.png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theme" Target="../theme/theme6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A5D1EE-329D-4677-A78E-6BE05B2C2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C129BD-93C7-4613-8368-B6EC837E92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98B8C-F3D0-4F52-847A-1EF9DEE6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D2CDEB-A948-4CBB-8E97-9D08E7AB2F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92E0A5-F51D-4091-8B1D-2ED444F7F2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80595E3B-DDFF-44ED-A066-E085CCE5F41A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48026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73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E7BBD8-4032-4BDD-A402-88EA5D799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C38895-827C-4DC0-9FE5-48CC296BFB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22E7E6-5D9C-4E8C-B9FD-AFBF0E27DF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BE348F-4A58-461B-8B71-A129A1027A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6043FB-3901-4E24-8B87-6DB77BDF74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  <p:sp>
        <p:nvSpPr>
          <p:cNvPr id="7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61E6FA4F-6838-4F42-AADA-8B9F533EC171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hu-HU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83395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2299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17" imgW="345" imgH="355" progId="TCLayout.ActiveDocument.1">
                  <p:embed/>
                </p:oleObj>
              </mc:Choice>
              <mc:Fallback>
                <p:oleObj name="think-cell Slide" r:id="rId17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F331D4F4-1ECF-4622-9E80-669D8AE2D905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  <a:endParaRPr lang="en-US" sz="1000" dirty="0" err="1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292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7" name="Rectangle 2" hidden="1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556925534"/>
              </p:ext>
            </p:extLst>
          </p:nvPr>
        </p:nvGraphicFramePr>
        <p:xfrm>
          <a:off x="1" y="0"/>
          <a:ext cx="21166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3" name="think-cell Slide" r:id="rId27" imgW="0" imgH="0" progId="TCLayout.ActiveDocument.1">
                  <p:embed/>
                </p:oleObj>
              </mc:Choice>
              <mc:Fallback>
                <p:oleObj name="think-cell Slide" r:id="rId27" imgW="0" imgH="0" progId="TCLayout.ActiveDocument.1">
                  <p:embed/>
                  <p:pic>
                    <p:nvPicPr>
                      <p:cNvPr id="1027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6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E6A3D79-7D1A-4692-BA19-2BA21848E2F4}"/>
              </a:ext>
            </a:extLst>
          </p:cNvPr>
          <p:cNvSpPr/>
          <p:nvPr userDrawn="1">
            <p:custDataLst>
              <p:tags r:id="rId21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1026" name="Group 22"/>
          <p:cNvGrpSpPr>
            <a:grpSpLocks/>
          </p:cNvGrpSpPr>
          <p:nvPr/>
        </p:nvGrpSpPr>
        <p:grpSpPr bwMode="auto">
          <a:xfrm>
            <a:off x="0" y="6"/>
            <a:ext cx="12208933" cy="6869113"/>
            <a:chOff x="0" y="0"/>
            <a:chExt cx="5768" cy="4327"/>
          </a:xfrm>
        </p:grpSpPr>
        <p:sp>
          <p:nvSpPr>
            <p:cNvPr id="1035" name="Freeform 23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36" name="Freeform 24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56736" y="784225"/>
            <a:ext cx="8629650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82162" y="1773280"/>
            <a:ext cx="8606367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12900" y="6543675"/>
            <a:ext cx="1270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fld id="{2A5614AE-C141-44BD-A832-7B26EE1A60B2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  <p:pic>
        <p:nvPicPr>
          <p:cNvPr id="1031" name="Picture 15" descr="DSM_cover_logo_contentpage_300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8304" y="6053138"/>
            <a:ext cx="2650066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25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982164" y="279442"/>
            <a:ext cx="1847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000">
              <a:solidFill>
                <a:srgbClr val="5F5F5F"/>
              </a:solidFill>
            </a:endParaRPr>
          </a:p>
        </p:txBody>
      </p:sp>
      <p:sp>
        <p:nvSpPr>
          <p:cNvPr id="1033" name="Text Box 26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982133" y="6499267"/>
            <a:ext cx="7979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5F5F5F"/>
                </a:solidFill>
              </a:rPr>
              <a:t>Page</a:t>
            </a:r>
          </a:p>
        </p:txBody>
      </p:sp>
      <p:sp>
        <p:nvSpPr>
          <p:cNvPr id="3" name="TextBox 2"/>
          <p:cNvSpPr txBox="1"/>
          <p:nvPr userDrawn="1">
            <p:custDataLst>
              <p:tags r:id="rId24"/>
            </p:custDataLst>
          </p:nvPr>
        </p:nvSpPr>
        <p:spPr>
          <a:xfrm>
            <a:off x="29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4" name="hl"/>
          <p:cNvSpPr txBox="1"/>
          <p:nvPr userDrawn="1"/>
        </p:nvSpPr>
        <p:spPr>
          <a:xfrm>
            <a:off x="0" y="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en-US" sz="850" b="0" i="0" u="none" baseline="0">
              <a:solidFill>
                <a:srgbClr val="5F5F5F"/>
              </a:solidFill>
              <a:latin typeface="trebuchet ms"/>
            </a:endParaRPr>
          </a:p>
        </p:txBody>
      </p:sp>
      <p:sp>
        <p:nvSpPr>
          <p:cNvPr id="2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2532615E-89BA-4323-8361-3D956DD290FE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64009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5" r:id="rId12"/>
    <p:sldLayoutId id="2147483690" r:id="rId13"/>
    <p:sldLayoutId id="2147483695" r:id="rId14"/>
    <p:sldLayoutId id="2147483696" r:id="rId15"/>
    <p:sldLayoutId id="2147483701" r:id="rId16"/>
    <p:sldLayoutId id="2147483732" r:id="rId17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91609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Slide" r:id="rId19" imgW="345" imgH="355" progId="TCLayout.ActiveDocument.1">
                  <p:embed/>
                </p:oleObj>
              </mc:Choice>
              <mc:Fallback>
                <p:oleObj name="think-cell Slide" r:id="rId19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  <a:endParaRPr lang="en-US" altLang="nl-NL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2EB1A62E-B505-4680-8D89-653416A7BDB7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  <a:endParaRPr lang="en-US" sz="1000" dirty="0" err="1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7431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91609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7" name="think-cell Slide" r:id="rId26" imgW="345" imgH="355" progId="TCLayout.ActiveDocument.1">
                  <p:embed/>
                </p:oleObj>
              </mc:Choice>
              <mc:Fallback>
                <p:oleObj name="think-cell Slide" r:id="rId26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 dirty="0"/>
              <a:t>Click to edit Master text styles</a:t>
            </a:r>
          </a:p>
          <a:p>
            <a:pPr lvl="1"/>
            <a:r>
              <a:rPr lang="en-US" altLang="nl-NL" noProof="0" dirty="0"/>
              <a:t>Second level</a:t>
            </a:r>
          </a:p>
          <a:p>
            <a:pPr lvl="2"/>
            <a:r>
              <a:rPr lang="en-US" altLang="nl-NL" noProof="0" dirty="0"/>
              <a:t>Third level</a:t>
            </a:r>
          </a:p>
          <a:p>
            <a:pPr lvl="3"/>
            <a:r>
              <a:rPr lang="en-US" altLang="nl-NL" noProof="0" dirty="0"/>
              <a:t>Fourth level</a:t>
            </a:r>
          </a:p>
          <a:p>
            <a:pPr lvl="4"/>
            <a:r>
              <a:rPr lang="en-US" altLang="nl-NL" noProof="0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4FEE73D9-C580-441E-8056-855597587028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  <a:endParaRPr lang="en-AT" sz="1000" dirty="0" err="1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332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f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8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37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svg"/><Relationship Id="rId3" Type="http://schemas.openxmlformats.org/officeDocument/2006/relationships/image" Target="../media/image56.svg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11" Type="http://schemas.openxmlformats.org/officeDocument/2006/relationships/image" Target="../media/image64.svg"/><Relationship Id="rId5" Type="http://schemas.openxmlformats.org/officeDocument/2006/relationships/image" Target="../media/image58.sv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6.svg"/><Relationship Id="rId4" Type="http://schemas.openxmlformats.org/officeDocument/2006/relationships/image" Target="../media/image6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Relationship Id="rId4" Type="http://schemas.openxmlformats.org/officeDocument/2006/relationships/chart" Target="../charts/char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70.sv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72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5.bin"/><Relationship Id="rId5" Type="http://schemas.microsoft.com/office/2007/relationships/hdphoto" Target="../media/hdphoto1.wdp"/><Relationship Id="rId4" Type="http://schemas.openxmlformats.org/officeDocument/2006/relationships/image" Target="../media/image7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svg"/><Relationship Id="rId3" Type="http://schemas.openxmlformats.org/officeDocument/2006/relationships/image" Target="../media/image56.svg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11" Type="http://schemas.openxmlformats.org/officeDocument/2006/relationships/image" Target="../media/image64.svg"/><Relationship Id="rId5" Type="http://schemas.openxmlformats.org/officeDocument/2006/relationships/image" Target="../media/image58.sv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4.svg"/><Relationship Id="rId4" Type="http://schemas.openxmlformats.org/officeDocument/2006/relationships/image" Target="../media/image6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4" Type="http://schemas.openxmlformats.org/officeDocument/2006/relationships/image" Target="../media/image8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8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8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7" Type="http://schemas.openxmlformats.org/officeDocument/2006/relationships/image" Target="../media/image95.png"/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13" Type="http://schemas.openxmlformats.org/officeDocument/2006/relationships/image" Target="../media/image15.emf"/><Relationship Id="rId18" Type="http://schemas.openxmlformats.org/officeDocument/2006/relationships/image" Target="../media/image26.jpeg"/><Relationship Id="rId3" Type="http://schemas.openxmlformats.org/officeDocument/2006/relationships/tags" Target="../tags/tag125.xml"/><Relationship Id="rId7" Type="http://schemas.openxmlformats.org/officeDocument/2006/relationships/image" Target="../media/image17.png"/><Relationship Id="rId12" Type="http://schemas.openxmlformats.org/officeDocument/2006/relationships/oleObject" Target="../embeddings/oleObject54.bin"/><Relationship Id="rId17" Type="http://schemas.openxmlformats.org/officeDocument/2006/relationships/image" Target="../media/image25.jpg"/><Relationship Id="rId2" Type="http://schemas.openxmlformats.org/officeDocument/2006/relationships/tags" Target="../tags/tag124.xml"/><Relationship Id="rId16" Type="http://schemas.openxmlformats.org/officeDocument/2006/relationships/image" Target="../media/image24.jpg"/><Relationship Id="rId20" Type="http://schemas.openxmlformats.org/officeDocument/2006/relationships/image" Target="../media/image28.png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6.tiff"/><Relationship Id="rId11" Type="http://schemas.openxmlformats.org/officeDocument/2006/relationships/image" Target="../media/image21.jpe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23.png"/><Relationship Id="rId10" Type="http://schemas.openxmlformats.org/officeDocument/2006/relationships/image" Target="../media/image20.JPG"/><Relationship Id="rId19" Type="http://schemas.openxmlformats.org/officeDocument/2006/relationships/image" Target="../media/image27.jpe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19.jpeg"/><Relationship Id="rId14" Type="http://schemas.openxmlformats.org/officeDocument/2006/relationships/image" Target="../media/image22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12" Type="http://schemas.openxmlformats.org/officeDocument/2006/relationships/image" Target="../media/image98.png"/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11" Type="http://schemas.openxmlformats.org/officeDocument/2006/relationships/image" Target="../media/image97.png"/><Relationship Id="rId5" Type="http://schemas.openxmlformats.org/officeDocument/2006/relationships/image" Target="../media/image77.png"/><Relationship Id="rId10" Type="http://schemas.openxmlformats.org/officeDocument/2006/relationships/image" Target="../media/image96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10" Type="http://schemas.openxmlformats.org/officeDocument/2006/relationships/image" Target="../media/image99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svg"/><Relationship Id="rId3" Type="http://schemas.openxmlformats.org/officeDocument/2006/relationships/image" Target="../media/image56.svg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59.png"/><Relationship Id="rId11" Type="http://schemas.openxmlformats.org/officeDocument/2006/relationships/image" Target="../media/image64.svg"/><Relationship Id="rId5" Type="http://schemas.openxmlformats.org/officeDocument/2006/relationships/image" Target="../media/image58.sv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62.svg"/><Relationship Id="rId4" Type="http://schemas.openxmlformats.org/officeDocument/2006/relationships/image" Target="../media/image6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emf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03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0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emf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8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7" Type="http://schemas.openxmlformats.org/officeDocument/2006/relationships/image" Target="../media/image111.JPG"/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10.jpg"/><Relationship Id="rId5" Type="http://schemas.openxmlformats.org/officeDocument/2006/relationships/image" Target="../media/image109.JPG"/><Relationship Id="rId4" Type="http://schemas.openxmlformats.org/officeDocument/2006/relationships/image" Target="../media/image108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jpg"/><Relationship Id="rId1" Type="http://schemas.openxmlformats.org/officeDocument/2006/relationships/slideLayout" Target="../slideLayouts/slideLayout4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g"/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customXml" Target="../ink/ink1.xml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5.xml"/><Relationship Id="rId9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6.png"/><Relationship Id="rId5" Type="http://schemas.openxmlformats.org/officeDocument/2006/relationships/image" Target="../media/image35.jpg"/><Relationship Id="rId4" Type="http://schemas.openxmlformats.org/officeDocument/2006/relationships/image" Target="../media/image34.jpeg"/><Relationship Id="rId9" Type="http://schemas.openxmlformats.org/officeDocument/2006/relationships/image" Target="../media/image39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fif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347A91-D096-4771-A816-EC379EF9349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6AA0A5-2E4B-4B78-841F-BE748C4EDB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2"/>
            <a:ext cx="9144000" cy="2900518"/>
          </a:xfrm>
        </p:spPr>
        <p:txBody>
          <a:bodyPr>
            <a:normAutofit fontScale="90000"/>
          </a:bodyPr>
          <a:lstStyle/>
          <a:p>
            <a:r>
              <a:rPr lang="en-US" sz="7300" b="1" dirty="0"/>
              <a:t>We Make It Possible</a:t>
            </a:r>
            <a:r>
              <a:rPr lang="hu-HU" sz="7300" b="1" dirty="0"/>
              <a:t>!</a:t>
            </a:r>
            <a:br>
              <a:rPr lang="en-US" sz="7300" dirty="0"/>
            </a:br>
            <a:r>
              <a:rPr lang="en-US" sz="7300" i="1" dirty="0"/>
              <a:t>S</a:t>
            </a:r>
            <a:r>
              <a:rPr lang="en-US" i="1" dirty="0"/>
              <a:t>olution on market challenges</a:t>
            </a:r>
            <a:br>
              <a:rPr lang="en-US" dirty="0"/>
            </a:b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7314B36-F99C-477C-8C4C-0BC359FD14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9404"/>
            <a:ext cx="9144000" cy="109839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Zsolt Csavajda – Gábor Jakab – </a:t>
            </a:r>
            <a:r>
              <a:rPr lang="en-US" dirty="0" err="1">
                <a:solidFill>
                  <a:srgbClr val="FFFFFF"/>
                </a:solidFill>
              </a:rPr>
              <a:t>RuszlánWladimir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DSM Nutritional Products Hungary</a:t>
            </a:r>
          </a:p>
        </p:txBody>
      </p:sp>
    </p:spTree>
    <p:extLst>
      <p:ext uri="{BB962C8B-B14F-4D97-AF65-F5344CB8AC3E}">
        <p14:creationId xmlns:p14="http://schemas.microsoft.com/office/powerpoint/2010/main" val="31783258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D445B2-37E2-46EF-9A50-681C3AC0A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176" y="775252"/>
            <a:ext cx="4670097" cy="530749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By applying our phytase enzyme </a:t>
            </a:r>
            <a:endParaRPr lang="hu-HU" sz="40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40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40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40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you had to use </a:t>
            </a:r>
            <a:r>
              <a:rPr lang="en-US" sz="40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107.442 to </a:t>
            </a: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less MCP in your final feed </a:t>
            </a:r>
            <a:endParaRPr lang="hu-HU" sz="40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4000" dirty="0">
              <a:latin typeface="Bradley Hand ITC" panose="03070402050302030203" pitchFamily="66" charset="0"/>
            </a:endParaRPr>
          </a:p>
        </p:txBody>
      </p:sp>
      <p:pic>
        <p:nvPicPr>
          <p:cNvPr id="9" name="Picture 8" descr="A high angle view of a dam&#10;&#10;Description automatically generated with medium confidence">
            <a:extLst>
              <a:ext uri="{FF2B5EF4-FFF2-40B4-BE49-F238E27FC236}">
                <a16:creationId xmlns:a16="http://schemas.microsoft.com/office/drawing/2014/main" id="{8EB56DA7-21F6-4405-A78D-5A54770FFBC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62" r="22451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3668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treet, outdoor, city, lined&#10;&#10;Description automatically generated">
            <a:extLst>
              <a:ext uri="{FF2B5EF4-FFF2-40B4-BE49-F238E27FC236}">
                <a16:creationId xmlns:a16="http://schemas.microsoft.com/office/drawing/2014/main" id="{65C420AD-8D78-490F-8723-98E167DF94E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083"/>
          <a:stretch/>
        </p:blipFill>
        <p:spPr>
          <a:xfrm>
            <a:off x="20" y="10"/>
            <a:ext cx="7009876" cy="6857990"/>
          </a:xfrm>
          <a:custGeom>
            <a:avLst/>
            <a:gdLst/>
            <a:ahLst/>
            <a:cxnLst/>
            <a:rect l="l" t="t" r="r" b="b"/>
            <a:pathLst>
              <a:path w="7009896" h="6858000">
                <a:moveTo>
                  <a:pt x="0" y="0"/>
                </a:moveTo>
                <a:lnTo>
                  <a:pt x="7009896" y="0"/>
                </a:lnTo>
                <a:lnTo>
                  <a:pt x="7009896" y="1"/>
                </a:lnTo>
                <a:lnTo>
                  <a:pt x="6295211" y="1"/>
                </a:lnTo>
                <a:lnTo>
                  <a:pt x="6195255" y="380651"/>
                </a:lnTo>
                <a:cubicBezTo>
                  <a:pt x="5677600" y="2559611"/>
                  <a:pt x="5966601" y="4758249"/>
                  <a:pt x="6880029" y="6647018"/>
                </a:cubicBezTo>
                <a:lnTo>
                  <a:pt x="698828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FDF4720-5445-47BE-89FE-E40D1AE6F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711927" y="-1"/>
            <a:ext cx="6480073" cy="6858002"/>
          </a:xfrm>
          <a:custGeom>
            <a:avLst/>
            <a:gdLst>
              <a:gd name="connsiteX0" fmla="*/ 6130244 w 6480073"/>
              <a:gd name="connsiteY0" fmla="*/ 0 h 6858002"/>
              <a:gd name="connsiteX1" fmla="*/ 6212951 w 6480073"/>
              <a:gd name="connsiteY1" fmla="*/ 314584 h 6858002"/>
              <a:gd name="connsiteX2" fmla="*/ 5540779 w 6480073"/>
              <a:gd name="connsiteY2" fmla="*/ 6756649 h 6858002"/>
              <a:gd name="connsiteX3" fmla="*/ 5489971 w 6480073"/>
              <a:gd name="connsiteY3" fmla="*/ 6858002 h 6858002"/>
              <a:gd name="connsiteX4" fmla="*/ 0 w 6480073"/>
              <a:gd name="connsiteY4" fmla="*/ 6858002 h 6858002"/>
              <a:gd name="connsiteX5" fmla="*/ 0 w 6480073"/>
              <a:gd name="connsiteY5" fmla="*/ 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073" h="6858002">
                <a:moveTo>
                  <a:pt x="6130244" y="0"/>
                </a:moveTo>
                <a:lnTo>
                  <a:pt x="6212951" y="314584"/>
                </a:lnTo>
                <a:cubicBezTo>
                  <a:pt x="6745828" y="2551616"/>
                  <a:pt x="6460994" y="4808873"/>
                  <a:pt x="5540779" y="6756649"/>
                </a:cubicBezTo>
                <a:lnTo>
                  <a:pt x="5489971" y="6858002"/>
                </a:lnTo>
                <a:lnTo>
                  <a:pt x="0" y="685800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39" name="Freeform: Shape 38">
            <a:extLst>
              <a:ext uri="{FF2B5EF4-FFF2-40B4-BE49-F238E27FC236}">
                <a16:creationId xmlns:a16="http://schemas.microsoft.com/office/drawing/2014/main" id="{AC8710B4-A815-4082-9E4F-F13A000709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942784" y="0"/>
            <a:ext cx="6249216" cy="6858001"/>
          </a:xfrm>
          <a:custGeom>
            <a:avLst/>
            <a:gdLst>
              <a:gd name="connsiteX0" fmla="*/ 0 w 6249216"/>
              <a:gd name="connsiteY0" fmla="*/ 0 h 6858001"/>
              <a:gd name="connsiteX1" fmla="*/ 5893742 w 6249216"/>
              <a:gd name="connsiteY1" fmla="*/ 1 h 6858001"/>
              <a:gd name="connsiteX2" fmla="*/ 5993697 w 6249216"/>
              <a:gd name="connsiteY2" fmla="*/ 380651 h 6858001"/>
              <a:gd name="connsiteX3" fmla="*/ 5308924 w 6249216"/>
              <a:gd name="connsiteY3" fmla="*/ 6647018 h 6858001"/>
              <a:gd name="connsiteX4" fmla="*/ 5200672 w 6249216"/>
              <a:gd name="connsiteY4" fmla="*/ 6858001 h 6858001"/>
              <a:gd name="connsiteX5" fmla="*/ 1 w 6249216"/>
              <a:gd name="connsiteY5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49216" h="6858001">
                <a:moveTo>
                  <a:pt x="0" y="0"/>
                </a:moveTo>
                <a:lnTo>
                  <a:pt x="5893742" y="1"/>
                </a:lnTo>
                <a:lnTo>
                  <a:pt x="5993697" y="380651"/>
                </a:lnTo>
                <a:cubicBezTo>
                  <a:pt x="6511353" y="2559611"/>
                  <a:pt x="6222352" y="4758249"/>
                  <a:pt x="5308924" y="6647018"/>
                </a:cubicBezTo>
                <a:lnTo>
                  <a:pt x="5200672" y="6858001"/>
                </a:lnTo>
                <a:lnTo>
                  <a:pt x="1" y="685800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AA4AC3-04D7-4B5E-B042-494442AD2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7066" y="533675"/>
            <a:ext cx="5768687" cy="1325563"/>
          </a:xfrm>
        </p:spPr>
        <p:txBody>
          <a:bodyPr>
            <a:noAutofit/>
          </a:bodyPr>
          <a:lstStyle/>
          <a:p>
            <a:r>
              <a:rPr lang="hu-HU" sz="4800" b="1" dirty="0">
                <a:latin typeface="Bradley Hand ITC" panose="03070402050302030203" pitchFamily="66" charset="0"/>
              </a:rPr>
              <a:t>Sold Mycofix</a:t>
            </a:r>
            <a:r>
              <a:rPr lang="hu-HU" sz="4800" b="1" baseline="30000" dirty="0">
                <a:latin typeface="Bradley Hand ITC" panose="03070402050302030203" pitchFamily="66" charset="0"/>
              </a:rPr>
              <a:t>@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3E24EB-FFD0-48AD-85AF-3296A2A3F7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7065" y="1998788"/>
            <a:ext cx="5768687" cy="3181684"/>
          </a:xfrm>
        </p:spPr>
        <p:txBody>
          <a:bodyPr anchor="t">
            <a:normAutofit/>
          </a:bodyPr>
          <a:lstStyle/>
          <a:p>
            <a:r>
              <a:rPr lang="hu-HU" sz="4400" dirty="0">
                <a:latin typeface="Bradley Hand ITC" panose="03070402050302030203" pitchFamily="66" charset="0"/>
              </a:rPr>
              <a:t> </a:t>
            </a:r>
            <a:r>
              <a:rPr lang="hu-HU" sz="44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7,8 km </a:t>
            </a:r>
            <a:r>
              <a:rPr lang="hu-HU" sz="4400" dirty="0">
                <a:latin typeface="Bradley Hand ITC" panose="03070402050302030203" pitchFamily="66" charset="0"/>
              </a:rPr>
              <a:t>line of trucks </a:t>
            </a:r>
          </a:p>
          <a:p>
            <a:pPr marL="0" indent="0">
              <a:buNone/>
            </a:pPr>
            <a:endParaRPr lang="hu-HU" sz="4400" dirty="0">
              <a:latin typeface="Bradley Hand ITC" panose="03070402050302030203" pitchFamily="66" charset="0"/>
            </a:endParaRPr>
          </a:p>
        </p:txBody>
      </p:sp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C801EC0C-5553-418B-987A-0C44E92992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47" y="2962480"/>
            <a:ext cx="3859627" cy="3722147"/>
          </a:xfrm>
          <a:prstGeom prst="rect">
            <a:avLst/>
          </a:prstGeom>
          <a:effectLst>
            <a:softEdge rad="215900"/>
          </a:effectLst>
        </p:spPr>
      </p:pic>
    </p:spTree>
    <p:extLst>
      <p:ext uri="{BB962C8B-B14F-4D97-AF65-F5344CB8AC3E}">
        <p14:creationId xmlns:p14="http://schemas.microsoft.com/office/powerpoint/2010/main" val="3294901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>
            <a:extLst>
              <a:ext uri="{FF2B5EF4-FFF2-40B4-BE49-F238E27FC236}">
                <a16:creationId xmlns:a16="http://schemas.microsoft.com/office/drawing/2014/main" id="{0C45045A-6083-4B3E-956A-675823375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30744" y="832894"/>
            <a:ext cx="3300984" cy="33009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picture containing sky, outdoor, mountain, people&#10;&#10;Description automatically generated">
            <a:extLst>
              <a:ext uri="{FF2B5EF4-FFF2-40B4-BE49-F238E27FC236}">
                <a16:creationId xmlns:a16="http://schemas.microsoft.com/office/drawing/2014/main" id="{0D92842D-458B-4834-81F3-D0FD4421B6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5" r="19863" b="-3"/>
          <a:stretch/>
        </p:blipFill>
        <p:spPr>
          <a:xfrm>
            <a:off x="558060" y="387793"/>
            <a:ext cx="3958522" cy="3958522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42875DDC-0225-45F8-B745-78688F2D1A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45509" y="832894"/>
            <a:ext cx="3300984" cy="33009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picture containing sky, outdoor, mountain, people&#10;&#10;Description automatically generated">
            <a:extLst>
              <a:ext uri="{FF2B5EF4-FFF2-40B4-BE49-F238E27FC236}">
                <a16:creationId xmlns:a16="http://schemas.microsoft.com/office/drawing/2014/main" id="{9C6D7FC8-609A-4489-8ADF-EC4954EB57A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5" r="19863" b="-3"/>
          <a:stretch/>
        </p:blipFill>
        <p:spPr>
          <a:xfrm>
            <a:off x="4272825" y="387793"/>
            <a:ext cx="3958522" cy="3958522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12617755-D451-4BAF-9B55-518297BFF4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60273" y="832894"/>
            <a:ext cx="3300984" cy="33009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 descr="A picture containing sky, outdoor, mountain, people&#10;&#10;Description automatically generated">
            <a:extLst>
              <a:ext uri="{FF2B5EF4-FFF2-40B4-BE49-F238E27FC236}">
                <a16:creationId xmlns:a16="http://schemas.microsoft.com/office/drawing/2014/main" id="{990AA05A-D59E-4639-A2ED-00F5D87C4AD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5" r="19863" b="-3"/>
          <a:stretch/>
        </p:blipFill>
        <p:spPr>
          <a:xfrm>
            <a:off x="7987589" y="387793"/>
            <a:ext cx="3958522" cy="3958522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8AA665C-B1DC-4A68-91D1-44B04A491038}"/>
              </a:ext>
            </a:extLst>
          </p:cNvPr>
          <p:cNvSpPr txBox="1"/>
          <p:nvPr/>
        </p:nvSpPr>
        <p:spPr>
          <a:xfrm>
            <a:off x="558060" y="4578979"/>
            <a:ext cx="1068906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4,579 mio to</a:t>
            </a:r>
            <a:r>
              <a:rPr kumimoji="0" lang="hu-HU" sz="4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</a:t>
            </a:r>
            <a:r>
              <a:rPr kumimoji="0" lang="en-US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toxin</a:t>
            </a:r>
            <a:r>
              <a:rPr kumimoji="0" lang="hu-HU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-reduced finished feed,</a:t>
            </a:r>
            <a:br>
              <a:rPr kumimoji="0" lang="hu-HU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</a:br>
            <a:r>
              <a:rPr kumimoji="0" lang="hu-H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...</a:t>
            </a:r>
            <a:r>
              <a:rPr kumimoji="0" lang="en-US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equal to 3 Great Pyramids of Giza</a:t>
            </a: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BDCE3B9-098C-4A46-ACBD-609402B95873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8179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FC3D2873-2194-4FB0-BFBA-7E7EEB9848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4053AA30-CE7E-4E85-A270-758568D17E6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" r="15036" b="4"/>
          <a:stretch/>
        </p:blipFill>
        <p:spPr>
          <a:xfrm>
            <a:off x="8529321" y="10"/>
            <a:ext cx="3662680" cy="3401558"/>
          </a:xfrm>
          <a:custGeom>
            <a:avLst/>
            <a:gdLst/>
            <a:ahLst/>
            <a:cxnLst/>
            <a:rect l="l" t="t" r="r" b="b"/>
            <a:pathLst>
              <a:path w="3662680" h="3401568">
                <a:moveTo>
                  <a:pt x="0" y="0"/>
                </a:moveTo>
                <a:lnTo>
                  <a:pt x="3662680" y="0"/>
                </a:lnTo>
                <a:lnTo>
                  <a:pt x="3662680" y="3401568"/>
                </a:lnTo>
                <a:lnTo>
                  <a:pt x="774527" y="3401568"/>
                </a:lnTo>
                <a:lnTo>
                  <a:pt x="769892" y="3133175"/>
                </a:lnTo>
                <a:cubicBezTo>
                  <a:pt x="732577" y="2055441"/>
                  <a:pt x="492520" y="1056020"/>
                  <a:pt x="104445" y="215033"/>
                </a:cubicBezTo>
                <a:close/>
              </a:path>
            </a:pathLst>
          </a:cu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E0369385-1CA2-4EBA-9613-E0F68C2D695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1" r="4" b="4"/>
          <a:stretch/>
        </p:blipFill>
        <p:spPr>
          <a:xfrm>
            <a:off x="5115314" y="10"/>
            <a:ext cx="4118110" cy="3401558"/>
          </a:xfrm>
          <a:custGeom>
            <a:avLst/>
            <a:gdLst/>
            <a:ahLst/>
            <a:cxnLst/>
            <a:rect l="l" t="t" r="r" b="b"/>
            <a:pathLst>
              <a:path w="4118110" h="3401568">
                <a:moveTo>
                  <a:pt x="0" y="0"/>
                </a:moveTo>
                <a:lnTo>
                  <a:pt x="3343575" y="0"/>
                </a:lnTo>
                <a:lnTo>
                  <a:pt x="3448028" y="215050"/>
                </a:lnTo>
                <a:cubicBezTo>
                  <a:pt x="3836103" y="1056037"/>
                  <a:pt x="4076161" y="2055458"/>
                  <a:pt x="4113475" y="3133192"/>
                </a:cubicBezTo>
                <a:lnTo>
                  <a:pt x="4118110" y="3401568"/>
                </a:lnTo>
                <a:lnTo>
                  <a:pt x="801224" y="3401568"/>
                </a:lnTo>
                <a:lnTo>
                  <a:pt x="797493" y="3185579"/>
                </a:lnTo>
                <a:cubicBezTo>
                  <a:pt x="756786" y="2009870"/>
                  <a:pt x="474799" y="927359"/>
                  <a:pt x="22579" y="42066"/>
                </a:cubicBezTo>
                <a:close/>
              </a:path>
            </a:pathLst>
          </a:custGeom>
        </p:spPr>
      </p:pic>
      <p:pic>
        <p:nvPicPr>
          <p:cNvPr id="9" name="Picture 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4A1F894-CCE2-4B2B-B9AA-626761E309D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00" r="-1" b="12426"/>
          <a:stretch/>
        </p:blipFill>
        <p:spPr>
          <a:xfrm>
            <a:off x="5168353" y="3456432"/>
            <a:ext cx="7023646" cy="3401568"/>
          </a:xfrm>
          <a:custGeom>
            <a:avLst/>
            <a:gdLst/>
            <a:ahLst/>
            <a:cxnLst/>
            <a:rect l="l" t="t" r="r" b="b"/>
            <a:pathLst>
              <a:path w="7023646" h="3401568">
                <a:moveTo>
                  <a:pt x="749132" y="0"/>
                </a:moveTo>
                <a:lnTo>
                  <a:pt x="7023646" y="0"/>
                </a:lnTo>
                <a:lnTo>
                  <a:pt x="7023646" y="3401568"/>
                </a:lnTo>
                <a:lnTo>
                  <a:pt x="0" y="3401568"/>
                </a:lnTo>
                <a:lnTo>
                  <a:pt x="79008" y="3238906"/>
                </a:lnTo>
                <a:cubicBezTo>
                  <a:pt x="502362" y="2321466"/>
                  <a:pt x="749563" y="1215476"/>
                  <a:pt x="749563" y="24956"/>
                </a:cubicBezTo>
                <a:close/>
              </a:path>
            </a:pathLst>
          </a:custGeom>
        </p:spPr>
      </p:pic>
      <p:sp useBgFill="1">
        <p:nvSpPr>
          <p:cNvPr id="24" name="Freeform: Shape 23">
            <a:extLst>
              <a:ext uri="{FF2B5EF4-FFF2-40B4-BE49-F238E27FC236}">
                <a16:creationId xmlns:a16="http://schemas.microsoft.com/office/drawing/2014/main" id="{B228652A-FD81-4A3C-B164-2012BF4EE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927943" cy="6858000"/>
          </a:xfrm>
          <a:custGeom>
            <a:avLst/>
            <a:gdLst>
              <a:gd name="connsiteX0" fmla="*/ 0 w 5927943"/>
              <a:gd name="connsiteY0" fmla="*/ 0 h 6858000"/>
              <a:gd name="connsiteX1" fmla="*/ 5129522 w 5927943"/>
              <a:gd name="connsiteY1" fmla="*/ 0 h 6858000"/>
              <a:gd name="connsiteX2" fmla="*/ 5289639 w 5927943"/>
              <a:gd name="connsiteY2" fmla="*/ 323150 h 6858000"/>
              <a:gd name="connsiteX3" fmla="*/ 5927943 w 5927943"/>
              <a:gd name="connsiteY3" fmla="*/ 3476847 h 6858000"/>
              <a:gd name="connsiteX4" fmla="*/ 5289639 w 5927943"/>
              <a:gd name="connsiteY4" fmla="*/ 6630545 h 6858000"/>
              <a:gd name="connsiteX5" fmla="*/ 5176937 w 5927943"/>
              <a:gd name="connsiteY5" fmla="*/ 6858000 h 6858000"/>
              <a:gd name="connsiteX6" fmla="*/ 0 w 592794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27943" h="6858000">
                <a:moveTo>
                  <a:pt x="0" y="0"/>
                </a:moveTo>
                <a:lnTo>
                  <a:pt x="5129522" y="0"/>
                </a:lnTo>
                <a:lnTo>
                  <a:pt x="5289639" y="323150"/>
                </a:lnTo>
                <a:cubicBezTo>
                  <a:pt x="5692631" y="1223391"/>
                  <a:pt x="5927943" y="2308646"/>
                  <a:pt x="5927943" y="3476847"/>
                </a:cubicBezTo>
                <a:cubicBezTo>
                  <a:pt x="5927943" y="4645048"/>
                  <a:pt x="5692631" y="5730304"/>
                  <a:pt x="5289639" y="6630545"/>
                </a:cubicBezTo>
                <a:lnTo>
                  <a:pt x="5176937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FE8F25D8-4980-4C67-9E0C-7BE94C9CB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917310" cy="6858000"/>
          </a:xfrm>
          <a:custGeom>
            <a:avLst/>
            <a:gdLst>
              <a:gd name="connsiteX0" fmla="*/ 0 w 5917310"/>
              <a:gd name="connsiteY0" fmla="*/ 0 h 6858000"/>
              <a:gd name="connsiteX1" fmla="*/ 5118889 w 5917310"/>
              <a:gd name="connsiteY1" fmla="*/ 0 h 6858000"/>
              <a:gd name="connsiteX2" fmla="*/ 5279006 w 5917310"/>
              <a:gd name="connsiteY2" fmla="*/ 323150 h 6858000"/>
              <a:gd name="connsiteX3" fmla="*/ 5917310 w 5917310"/>
              <a:gd name="connsiteY3" fmla="*/ 3476847 h 6858000"/>
              <a:gd name="connsiteX4" fmla="*/ 5279006 w 5917310"/>
              <a:gd name="connsiteY4" fmla="*/ 6630545 h 6858000"/>
              <a:gd name="connsiteX5" fmla="*/ 5166304 w 5917310"/>
              <a:gd name="connsiteY5" fmla="*/ 6858000 h 6858000"/>
              <a:gd name="connsiteX6" fmla="*/ 0 w 591731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17310" h="6858000">
                <a:moveTo>
                  <a:pt x="0" y="0"/>
                </a:moveTo>
                <a:lnTo>
                  <a:pt x="5118889" y="0"/>
                </a:lnTo>
                <a:lnTo>
                  <a:pt x="5279006" y="323150"/>
                </a:lnTo>
                <a:cubicBezTo>
                  <a:pt x="5681998" y="1223391"/>
                  <a:pt x="5917310" y="2308646"/>
                  <a:pt x="5917310" y="3476847"/>
                </a:cubicBezTo>
                <a:cubicBezTo>
                  <a:pt x="5917310" y="4645048"/>
                  <a:pt x="5681998" y="5730304"/>
                  <a:pt x="5279006" y="6630545"/>
                </a:cubicBezTo>
                <a:lnTo>
                  <a:pt x="5166304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F7F961-748A-4820-AF38-EEB246CB2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118" y="1074868"/>
            <a:ext cx="5489031" cy="2311383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sz="5400" b="1" kern="1200" dirty="0">
                <a:solidFill>
                  <a:srgbClr val="FFFF00"/>
                </a:solidFill>
                <a:latin typeface="Bradley Hand ITC" panose="03070402050302030203" pitchFamily="66" charset="0"/>
              </a:rPr>
              <a:t>7657</a:t>
            </a:r>
            <a:r>
              <a:rPr lang="en-US" sz="5400" kern="12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hu-HU" sz="5400" kern="1200" dirty="0">
                <a:solidFill>
                  <a:schemeClr val="bg1"/>
                </a:solidFill>
                <a:latin typeface="Bradley Hand ITC" panose="03070402050302030203" pitchFamily="66" charset="0"/>
              </a:rPr>
              <a:t>samples was analysed at our lab in Tulln</a:t>
            </a:r>
            <a:endParaRPr lang="en-US" sz="5400" kern="1200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A214C69-1234-4E5D-91CD-BEA0020425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67989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86E49C8-40C0-4E80-BAC0-9A66298F1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098" y="4461119"/>
            <a:ext cx="5019074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BABB734-2476-4DA3-813F-3F40E11E87C8}"/>
              </a:ext>
            </a:extLst>
          </p:cNvPr>
          <p:cNvSpPr txBox="1">
            <a:spLocks/>
          </p:cNvSpPr>
          <p:nvPr/>
        </p:nvSpPr>
        <p:spPr>
          <a:xfrm>
            <a:off x="489097" y="4854170"/>
            <a:ext cx="5019075" cy="156074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2</a:t>
            </a:r>
            <a:r>
              <a:rPr kumimoji="0" lang="hu-HU" sz="5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,2</a:t>
            </a: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 years' </a:t>
            </a: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work of one person</a:t>
            </a:r>
            <a:endParaRPr kumimoji="0" lang="hu-HU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radley Hand ITC" panose="03070402050302030203" pitchFamily="66" charset="0"/>
              <a:ea typeface="+mj-ea"/>
              <a:cs typeface="+mj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2100C6-C041-4E09-BE86-136C12FC76EA}"/>
              </a:ext>
            </a:extLst>
          </p:cNvPr>
          <p:cNvSpPr/>
          <p:nvPr/>
        </p:nvSpPr>
        <p:spPr>
          <a:xfrm>
            <a:off x="407504" y="357809"/>
            <a:ext cx="954157" cy="576469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2116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9E798CC-1D4B-4144-B247-8875E6138F9D}"/>
              </a:ext>
            </a:extLst>
          </p:cNvPr>
          <p:cNvSpPr/>
          <p:nvPr/>
        </p:nvSpPr>
        <p:spPr>
          <a:xfrm>
            <a:off x="8177791" y="1249741"/>
            <a:ext cx="3657600" cy="4407039"/>
          </a:xfrm>
          <a:prstGeom prst="roundRect">
            <a:avLst>
              <a:gd name="adj" fmla="val 5483"/>
            </a:avLst>
          </a:prstGeom>
          <a:solidFill>
            <a:schemeClr val="accent5">
              <a:lumMod val="60000"/>
              <a:lumOff val="40000"/>
            </a:schemeClr>
          </a:solidFill>
          <a:ln w="508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B804B46-83FD-4A45-BA08-647BEC4E11A7}"/>
              </a:ext>
            </a:extLst>
          </p:cNvPr>
          <p:cNvSpPr/>
          <p:nvPr/>
        </p:nvSpPr>
        <p:spPr>
          <a:xfrm>
            <a:off x="4342148" y="1225479"/>
            <a:ext cx="3657600" cy="4407039"/>
          </a:xfrm>
          <a:prstGeom prst="roundRect">
            <a:avLst>
              <a:gd name="adj" fmla="val 5483"/>
            </a:avLst>
          </a:prstGeom>
          <a:solidFill>
            <a:srgbClr val="99FF99"/>
          </a:solidFill>
          <a:ln w="50800">
            <a:solidFill>
              <a:srgbClr val="00B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7E5DF7-3EC6-4CC6-A57A-79551A241925}"/>
              </a:ext>
            </a:extLst>
          </p:cNvPr>
          <p:cNvSpPr/>
          <p:nvPr/>
        </p:nvSpPr>
        <p:spPr>
          <a:xfrm>
            <a:off x="473545" y="1225480"/>
            <a:ext cx="3657600" cy="4407039"/>
          </a:xfrm>
          <a:prstGeom prst="roundRect">
            <a:avLst>
              <a:gd name="adj" fmla="val 5483"/>
            </a:avLst>
          </a:prstGeom>
          <a:solidFill>
            <a:schemeClr val="accent1">
              <a:lumMod val="40000"/>
              <a:lumOff val="60000"/>
            </a:schemeClr>
          </a:solidFill>
          <a:ln w="50800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B7AACA-67B7-442A-BF5E-704FF3F1D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 and future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0ACF2B5-BE2C-481E-8334-1FEADD1DFC3F}"/>
              </a:ext>
            </a:extLst>
          </p:cNvPr>
          <p:cNvSpPr/>
          <p:nvPr/>
        </p:nvSpPr>
        <p:spPr bwMode="auto">
          <a:xfrm>
            <a:off x="616452" y="1300943"/>
            <a:ext cx="3469832" cy="38259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Reliability</a:t>
            </a:r>
          </a:p>
          <a:p>
            <a:pPr algn="ctr"/>
            <a:r>
              <a:rPr lang="en-US" sz="3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ce &amp; cost</a:t>
            </a:r>
          </a:p>
          <a:p>
            <a:pPr algn="ctr"/>
            <a:r>
              <a:rPr lang="en-US" sz="3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Quality</a:t>
            </a:r>
          </a:p>
          <a:p>
            <a:pPr algn="ctr"/>
            <a:r>
              <a:rPr lang="en-US" sz="3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fficiency</a:t>
            </a:r>
            <a:endParaRPr lang="en-US" sz="2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18E21D-E554-4FAD-BBD5-CE841A13BBC6}"/>
              </a:ext>
            </a:extLst>
          </p:cNvPr>
          <p:cNvSpPr/>
          <p:nvPr/>
        </p:nvSpPr>
        <p:spPr bwMode="auto">
          <a:xfrm>
            <a:off x="4310687" y="1300943"/>
            <a:ext cx="3712308" cy="3825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rgbClr val="00B050"/>
                </a:solidFill>
              </a:rPr>
              <a:t>Reputation </a:t>
            </a:r>
          </a:p>
          <a:p>
            <a:pPr algn="ctr"/>
            <a:r>
              <a:rPr lang="en-US" sz="3200" dirty="0">
                <a:solidFill>
                  <a:srgbClr val="00B050"/>
                </a:solidFill>
              </a:rPr>
              <a:t>Science</a:t>
            </a:r>
          </a:p>
          <a:p>
            <a:pPr algn="ctr"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>
                <a:solidFill>
                  <a:srgbClr val="00B050"/>
                </a:solidFill>
              </a:rPr>
              <a:t>Innovation</a:t>
            </a:r>
          </a:p>
          <a:p>
            <a:pPr algn="ctr"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>
                <a:solidFill>
                  <a:srgbClr val="00B050"/>
                </a:solidFill>
              </a:rPr>
              <a:t>Service</a:t>
            </a:r>
            <a:endParaRPr lang="en-US" sz="2400" dirty="0">
              <a:solidFill>
                <a:srgbClr val="00B05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CCFF65-DD6D-4013-9102-81314DD35B42}"/>
              </a:ext>
            </a:extLst>
          </p:cNvPr>
          <p:cNvSpPr/>
          <p:nvPr/>
        </p:nvSpPr>
        <p:spPr bwMode="auto">
          <a:xfrm>
            <a:off x="8284799" y="1300943"/>
            <a:ext cx="3481402" cy="3825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1" dirty="0">
              <a:solidFill>
                <a:schemeClr val="bg1"/>
              </a:solidFill>
            </a:endParaRPr>
          </a:p>
          <a:p>
            <a:pPr algn="ctr"/>
            <a:r>
              <a:rPr lang="en-US" sz="3200" dirty="0">
                <a:solidFill>
                  <a:srgbClr val="FF0000"/>
                </a:solidFill>
              </a:rPr>
              <a:t>Sustainability</a:t>
            </a:r>
          </a:p>
          <a:p>
            <a:pPr algn="ctr"/>
            <a:r>
              <a:rPr lang="en-US" sz="3200" dirty="0">
                <a:solidFill>
                  <a:srgbClr val="FF0000"/>
                </a:solidFill>
              </a:rPr>
              <a:t>Documents</a:t>
            </a:r>
          </a:p>
          <a:p>
            <a:pPr algn="ctr"/>
            <a:r>
              <a:rPr lang="en-US" sz="3200" dirty="0">
                <a:solidFill>
                  <a:srgbClr val="FF0000"/>
                </a:solidFill>
              </a:rPr>
              <a:t>Application Information</a:t>
            </a:r>
          </a:p>
          <a:p>
            <a:pPr algn="ctr"/>
            <a:endParaRPr lang="en-US" sz="2131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Graphic 13" descr="In love face outline outline">
            <a:extLst>
              <a:ext uri="{FF2B5EF4-FFF2-40B4-BE49-F238E27FC236}">
                <a16:creationId xmlns:a16="http://schemas.microsoft.com/office/drawing/2014/main" id="{AF2CB075-B1AC-4BF0-B35B-027F865D30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7735" y="4260883"/>
            <a:ext cx="1180290" cy="1180290"/>
          </a:xfrm>
          <a:prstGeom prst="rect">
            <a:avLst/>
          </a:prstGeom>
          <a:effectLst/>
        </p:spPr>
      </p:pic>
      <p:pic>
        <p:nvPicPr>
          <p:cNvPr id="16" name="Graphic 15" descr="Winking face outline with solid fill">
            <a:extLst>
              <a:ext uri="{FF2B5EF4-FFF2-40B4-BE49-F238E27FC236}">
                <a16:creationId xmlns:a16="http://schemas.microsoft.com/office/drawing/2014/main" id="{44998431-97A4-4982-975B-EF0C8C7B25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05855" y="4260883"/>
            <a:ext cx="1180290" cy="1180290"/>
          </a:xfrm>
          <a:prstGeom prst="rect">
            <a:avLst/>
          </a:prstGeom>
          <a:effectLst/>
        </p:spPr>
      </p:pic>
      <p:pic>
        <p:nvPicPr>
          <p:cNvPr id="18" name="Graphic 17" descr="Smiling face outline outline">
            <a:extLst>
              <a:ext uri="{FF2B5EF4-FFF2-40B4-BE49-F238E27FC236}">
                <a16:creationId xmlns:a16="http://schemas.microsoft.com/office/drawing/2014/main" id="{72C21921-FD9C-4BD4-800E-45F6989D95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96920" y="4254399"/>
            <a:ext cx="1186774" cy="1186774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BED6298C-DBFD-4CDA-BF65-51F2EE891D38}"/>
              </a:ext>
            </a:extLst>
          </p:cNvPr>
          <p:cNvSpPr/>
          <p:nvPr/>
        </p:nvSpPr>
        <p:spPr>
          <a:xfrm>
            <a:off x="1047262" y="2266462"/>
            <a:ext cx="2625969" cy="49236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9FFCE5F-87BE-47C2-AC5B-0C2960820013}"/>
              </a:ext>
            </a:extLst>
          </p:cNvPr>
          <p:cNvSpPr/>
          <p:nvPr/>
        </p:nvSpPr>
        <p:spPr>
          <a:xfrm>
            <a:off x="8677322" y="3693933"/>
            <a:ext cx="2625969" cy="49236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57ADC80-48CF-4C6F-AA3E-35A169D9595B}"/>
              </a:ext>
            </a:extLst>
          </p:cNvPr>
          <p:cNvSpPr/>
          <p:nvPr/>
        </p:nvSpPr>
        <p:spPr>
          <a:xfrm>
            <a:off x="4841483" y="3216685"/>
            <a:ext cx="2625969" cy="49236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6406729-7FDE-4987-A616-4CD22BB156F2}"/>
              </a:ext>
            </a:extLst>
          </p:cNvPr>
          <p:cNvSpPr/>
          <p:nvPr/>
        </p:nvSpPr>
        <p:spPr>
          <a:xfrm>
            <a:off x="1047262" y="3207075"/>
            <a:ext cx="2625969" cy="49236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0D4C23-0A7A-4032-BA0A-DDDA97A63D41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81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3" grpId="0" animBg="1"/>
      <p:bldP spid="15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4014788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5614" t="4305" r="36813" b="4305"/>
          <a:stretch/>
        </p:blipFill>
        <p:spPr>
          <a:xfrm>
            <a:off x="4014788" y="0"/>
            <a:ext cx="4014789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239" t="11930" r="43444" b="8007"/>
          <a:stretch/>
        </p:blipFill>
        <p:spPr>
          <a:xfrm>
            <a:off x="8029577" y="-6693"/>
            <a:ext cx="4166486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0361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7361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1C588A-74C9-4C11-8C10-9D0409C34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281" y="381121"/>
            <a:ext cx="8629650" cy="467820"/>
          </a:xfrm>
        </p:spPr>
        <p:txBody>
          <a:bodyPr/>
          <a:lstStyle/>
          <a:p>
            <a:r>
              <a:rPr lang="en-US" dirty="0"/>
              <a:t>Raw material &amp; additive marke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273E33-0FC2-4EA4-81AF-2058871C0CEA}"/>
              </a:ext>
            </a:extLst>
          </p:cNvPr>
          <p:cNvSpPr txBox="1">
            <a:spLocks/>
          </p:cNvSpPr>
          <p:nvPr/>
        </p:nvSpPr>
        <p:spPr>
          <a:xfrm>
            <a:off x="526098" y="1217144"/>
            <a:ext cx="11126640" cy="44237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ts val="2000"/>
              </a:lnSpc>
              <a:buFontTx/>
              <a:buNone/>
            </a:pPr>
            <a:r>
              <a:rPr lang="en-US" sz="2000" b="1" kern="0" dirty="0"/>
              <a:t>ECONOMICAL &amp; MARKET FOUNDATIONS – Decreasing demand, low prices (minimum)</a:t>
            </a:r>
            <a:endParaRPr lang="en-GB" sz="2000" b="1" kern="0" dirty="0"/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Global meat consumption grows 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Farmers, suppliers suffer of complex problems (COVID, ASF, ABF, costs, inventory, drought)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5-15% of demand decrease, saving </a:t>
            </a:r>
            <a:r>
              <a:rPr lang="en-GB" kern="0" dirty="0" err="1"/>
              <a:t>behavior</a:t>
            </a:r>
            <a:endParaRPr lang="en-GB" kern="0" dirty="0"/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High stocks, low prices, increasing production cost </a:t>
            </a:r>
          </a:p>
          <a:p>
            <a:pPr marL="216000" indent="-216000">
              <a:lnSpc>
                <a:spcPct val="150000"/>
              </a:lnSpc>
            </a:pPr>
            <a:r>
              <a:rPr lang="en-US" kern="0" dirty="0"/>
              <a:t>Producers in difficult situation – consolidation (supply-demand)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All above would drive prices higher</a:t>
            </a:r>
          </a:p>
          <a:p>
            <a:pPr marL="216000" indent="-216000">
              <a:lnSpc>
                <a:spcPct val="150000"/>
              </a:lnSpc>
            </a:pPr>
            <a:endParaRPr lang="en-US" sz="1600" b="1" kern="0" dirty="0"/>
          </a:p>
          <a:p>
            <a:pPr marL="0" indent="0">
              <a:lnSpc>
                <a:spcPts val="2000"/>
              </a:lnSpc>
              <a:buFontTx/>
              <a:buNone/>
            </a:pPr>
            <a:r>
              <a:rPr lang="en-US" sz="2000" b="1" kern="0" dirty="0"/>
              <a:t>TECHNICAL FOUNDATIONS – Improve efficiency, new type of consumer demands and trends</a:t>
            </a:r>
            <a:endParaRPr lang="en-GB" sz="2000" b="1" kern="0" dirty="0"/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Precision nutrition, more accurate feeding of animal needs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Rules, regulations (antibiotic usage, </a:t>
            </a:r>
            <a:r>
              <a:rPr lang="en-GB" kern="0" dirty="0" err="1"/>
              <a:t>ZnO</a:t>
            </a:r>
            <a:r>
              <a:rPr lang="en-GB" kern="0" dirty="0"/>
              <a:t>)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Sustainability, reducing emission, CO2 footprint calculation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Animal welfare, healthy food</a:t>
            </a:r>
          </a:p>
          <a:p>
            <a:pPr marL="216000" indent="-216000">
              <a:lnSpc>
                <a:spcPts val="2000"/>
              </a:lnSpc>
            </a:pPr>
            <a:endParaRPr lang="en-GB" sz="1600" kern="0" dirty="0"/>
          </a:p>
          <a:p>
            <a:pPr marL="0" indent="0">
              <a:lnSpc>
                <a:spcPts val="2000"/>
              </a:lnSpc>
              <a:buFontTx/>
              <a:buNone/>
            </a:pPr>
            <a:endParaRPr lang="en-US" sz="1400" b="1" kern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9CDFB65-CCE9-4284-AEEE-197FC9ACDBFF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B166E2-D678-4F85-A901-20317DEF429B}"/>
              </a:ext>
            </a:extLst>
          </p:cNvPr>
          <p:cNvSpPr/>
          <p:nvPr/>
        </p:nvSpPr>
        <p:spPr>
          <a:xfrm>
            <a:off x="799749" y="6545356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005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F14FCF-3F11-4880-8C2A-D6323CD47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915" y="194983"/>
            <a:ext cx="8197850" cy="467820"/>
          </a:xfrm>
        </p:spPr>
        <p:txBody>
          <a:bodyPr/>
          <a:lstStyle/>
          <a:p>
            <a:r>
              <a:rPr lang="en-US" dirty="0"/>
              <a:t>Vitamins</a:t>
            </a:r>
          </a:p>
        </p:txBody>
      </p:sp>
      <p:graphicFrame>
        <p:nvGraphicFramePr>
          <p:cNvPr id="6" name="Chart 18">
            <a:extLst>
              <a:ext uri="{FF2B5EF4-FFF2-40B4-BE49-F238E27FC236}">
                <a16:creationId xmlns:a16="http://schemas.microsoft.com/office/drawing/2014/main" id="{894A5AEA-34FC-4346-B7FE-EFAA6CF15A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827682"/>
              </p:ext>
            </p:extLst>
          </p:nvPr>
        </p:nvGraphicFramePr>
        <p:xfrm>
          <a:off x="7249768" y="3057532"/>
          <a:ext cx="4640228" cy="2244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17">
            <a:extLst>
              <a:ext uri="{FF2B5EF4-FFF2-40B4-BE49-F238E27FC236}">
                <a16:creationId xmlns:a16="http://schemas.microsoft.com/office/drawing/2014/main" id="{ED64B3C7-76FA-4078-AB2A-D66B17B1C2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1207897"/>
              </p:ext>
            </p:extLst>
          </p:nvPr>
        </p:nvGraphicFramePr>
        <p:xfrm>
          <a:off x="528915" y="2650013"/>
          <a:ext cx="5758667" cy="4122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Oval 11">
            <a:extLst>
              <a:ext uri="{FF2B5EF4-FFF2-40B4-BE49-F238E27FC236}">
                <a16:creationId xmlns:a16="http://schemas.microsoft.com/office/drawing/2014/main" id="{FE95DF9A-C242-45B8-824A-27CF03CB1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3383" y="5846424"/>
            <a:ext cx="2113736" cy="638448"/>
          </a:xfrm>
          <a:prstGeom prst="ellipse">
            <a:avLst/>
          </a:prstGeom>
          <a:solidFill>
            <a:srgbClr val="83D0F5">
              <a:alpha val="0"/>
            </a:srgbClr>
          </a:solidFill>
          <a:ln w="19050" algn="ctr">
            <a:solidFill>
              <a:srgbClr val="FF9900"/>
            </a:solidFill>
            <a:prstDash val="sysDash"/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s-ES" altLang="es-E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4BF4CB7-319C-47B8-9896-FDBBA6AF599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023727" y="3561018"/>
            <a:ext cx="1954181" cy="1777097"/>
          </a:xfrm>
          <a:prstGeom prst="ellipse">
            <a:avLst/>
          </a:prstGeom>
          <a:noFill/>
          <a:ln w="19050" algn="ctr">
            <a:solidFill>
              <a:srgbClr val="FF9900"/>
            </a:solidFill>
            <a:prstDash val="sysDash"/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s-ES" altLang="es-ES"/>
          </a:p>
        </p:txBody>
      </p:sp>
      <p:sp>
        <p:nvSpPr>
          <p:cNvPr id="23" name="Oval 11">
            <a:extLst>
              <a:ext uri="{FF2B5EF4-FFF2-40B4-BE49-F238E27FC236}">
                <a16:creationId xmlns:a16="http://schemas.microsoft.com/office/drawing/2014/main" id="{F1E704D6-4E47-46F0-9AF0-53B1DC511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183" y="3057532"/>
            <a:ext cx="5989281" cy="2203654"/>
          </a:xfrm>
          <a:prstGeom prst="ellipse">
            <a:avLst/>
          </a:prstGeom>
          <a:solidFill>
            <a:srgbClr val="FF0000">
              <a:alpha val="0"/>
            </a:srgbClr>
          </a:solidFill>
          <a:ln w="19050" algn="ctr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s-ES" altLang="es-E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6891A8-AFEA-4289-9153-33B3384DF13B}"/>
              </a:ext>
            </a:extLst>
          </p:cNvPr>
          <p:cNvSpPr/>
          <p:nvPr/>
        </p:nvSpPr>
        <p:spPr>
          <a:xfrm>
            <a:off x="1847753" y="3570511"/>
            <a:ext cx="357181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s-ES" sz="2400" b="1" dirty="0">
                <a:solidFill>
                  <a:srgbClr val="FF0000"/>
                </a:solidFill>
                <a:ea typeface="Arial" panose="020B0604020202020204" pitchFamily="34" charset="0"/>
              </a:rPr>
              <a:t>Raw material volatility</a:t>
            </a:r>
            <a:endParaRPr lang="es-ES" sz="2400" dirty="0">
              <a:solidFill>
                <a:srgbClr val="FF0000"/>
              </a:solidFill>
            </a:endParaRPr>
          </a:p>
        </p:txBody>
      </p:sp>
      <p:sp>
        <p:nvSpPr>
          <p:cNvPr id="25" name="Arrow: Bent 24">
            <a:extLst>
              <a:ext uri="{FF2B5EF4-FFF2-40B4-BE49-F238E27FC236}">
                <a16:creationId xmlns:a16="http://schemas.microsoft.com/office/drawing/2014/main" id="{81AD0F90-62CE-4DDA-AF63-071392B3DD3D}"/>
              </a:ext>
            </a:extLst>
          </p:cNvPr>
          <p:cNvSpPr/>
          <p:nvPr/>
        </p:nvSpPr>
        <p:spPr bwMode="auto">
          <a:xfrm rot="5400000" flipH="1">
            <a:off x="6704000" y="4968055"/>
            <a:ext cx="1091535" cy="1398681"/>
          </a:xfrm>
          <a:prstGeom prst="bentArrow">
            <a:avLst>
              <a:gd name="adj1" fmla="val 25000"/>
              <a:gd name="adj2" fmla="val 28333"/>
              <a:gd name="adj3" fmla="val 25000"/>
              <a:gd name="adj4" fmla="val 43750"/>
            </a:avLst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>
              <a:latin typeface="Trebuchet MS" pitchFamily="34" charset="0"/>
              <a:cs typeface="Arial" charset="0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FEE0E20C-3353-4A89-B28D-B0A5A02E31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184" y="6620472"/>
            <a:ext cx="656942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r>
              <a:rPr lang="es-ES_tradnl" altLang="es-ES" sz="800" i="1" dirty="0"/>
              <a:t>*</a:t>
            </a:r>
            <a:r>
              <a:rPr lang="es-ES_tradnl" altLang="es-ES" sz="800" i="1" dirty="0" err="1"/>
              <a:t>Approx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cost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of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average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vitamin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levels</a:t>
            </a:r>
            <a:r>
              <a:rPr lang="es-ES_tradnl" altLang="es-ES" sz="800" i="1" dirty="0"/>
              <a:t> in </a:t>
            </a:r>
            <a:r>
              <a:rPr lang="es-ES_tradnl" altLang="es-ES" sz="800" i="1" dirty="0" err="1"/>
              <a:t>broiler</a:t>
            </a:r>
            <a:r>
              <a:rPr lang="es-ES_tradnl" altLang="es-ES" sz="800" i="1" dirty="0"/>
              <a:t> feed in Latam, March 2022; </a:t>
            </a:r>
            <a:r>
              <a:rPr lang="es-ES_tradnl" altLang="es-ES" sz="800" i="1" dirty="0" err="1"/>
              <a:t>most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of</a:t>
            </a:r>
            <a:r>
              <a:rPr lang="es-ES_tradnl" altLang="es-ES" sz="800" i="1" dirty="0"/>
              <a:t> feed </a:t>
            </a:r>
            <a:r>
              <a:rPr lang="es-ES_tradnl" altLang="es-ES" sz="800" i="1" dirty="0" err="1"/>
              <a:t>cost</a:t>
            </a:r>
            <a:r>
              <a:rPr lang="es-ES_tradnl" altLang="es-ES" sz="800" i="1" dirty="0"/>
              <a:t> and </a:t>
            </a:r>
            <a:r>
              <a:rPr lang="es-ES_tradnl" altLang="es-ES" sz="800" i="1" dirty="0" err="1"/>
              <a:t>volatility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originated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by</a:t>
            </a:r>
            <a:r>
              <a:rPr lang="es-ES_tradnl" altLang="es-ES" sz="800" i="1" dirty="0"/>
              <a:t> raw </a:t>
            </a:r>
            <a:r>
              <a:rPr lang="es-ES_tradnl" altLang="es-ES" sz="800" i="1" dirty="0" err="1"/>
              <a:t>materials</a:t>
            </a:r>
            <a:endParaRPr lang="es-ES" altLang="es-ES" sz="800" i="1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4B42255-F5D5-43F3-984E-BDC73E3A64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747" y="720526"/>
            <a:ext cx="11505975" cy="923330"/>
          </a:xfrm>
        </p:spPr>
        <p:txBody>
          <a:bodyPr/>
          <a:lstStyle/>
          <a:p>
            <a:pPr lvl="1"/>
            <a:r>
              <a:rPr lang="en-US" sz="2000" b="1" dirty="0"/>
              <a:t>Vitamins are irreplaceable nutrient, their cost is a fraction of feed however any deviation may jeopardize animal health and productivity without any significant savings in cost</a:t>
            </a:r>
          </a:p>
          <a:p>
            <a:pPr lvl="1"/>
            <a:r>
              <a:rPr lang="en-US" sz="2000" b="1" dirty="0">
                <a:solidFill>
                  <a:srgbClr val="FF0000"/>
                </a:solidFill>
              </a:rPr>
              <a:t>Do not take risk for few cent! Stick to your original formula and nutrient values!</a:t>
            </a:r>
            <a:endParaRPr lang="en-US" sz="1600" b="1" dirty="0">
              <a:solidFill>
                <a:srgbClr val="FF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D2A544-7988-4FEC-95B0-FAA5F2EC1D8D}"/>
              </a:ext>
            </a:extLst>
          </p:cNvPr>
          <p:cNvSpPr txBox="1"/>
          <p:nvPr/>
        </p:nvSpPr>
        <p:spPr>
          <a:xfrm>
            <a:off x="10461265" y="5505591"/>
            <a:ext cx="1334020" cy="2616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100" b="1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Vitamin Volatil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96FA71-B24A-4A84-BA63-3D6FF4FCA584}"/>
              </a:ext>
            </a:extLst>
          </p:cNvPr>
          <p:cNvSpPr txBox="1"/>
          <p:nvPr/>
        </p:nvSpPr>
        <p:spPr>
          <a:xfrm>
            <a:off x="4393101" y="6175613"/>
            <a:ext cx="1436612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en-GB" b="1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 </a:t>
            </a:r>
            <a:r>
              <a:rPr lang="en-GB" sz="900" b="1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Vitamin Volatility</a:t>
            </a:r>
            <a:endParaRPr lang="en-GB" b="1" dirty="0">
              <a:solidFill>
                <a:schemeClr val="accent1">
                  <a:lumMod val="75000"/>
                </a:schemeClr>
              </a:solidFill>
              <a:sym typeface="Wingdings" panose="05000000000000000000" pitchFamily="2" charset="2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B366-8E9D-4BF1-8C85-C3BF079952A3}"/>
              </a:ext>
            </a:extLst>
          </p:cNvPr>
          <p:cNvSpPr txBox="1"/>
          <p:nvPr/>
        </p:nvSpPr>
        <p:spPr>
          <a:xfrm>
            <a:off x="10513183" y="3526581"/>
            <a:ext cx="487634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2800" b="1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</a:t>
            </a:r>
            <a:endParaRPr lang="en-GB" sz="1100" b="1" dirty="0">
              <a:solidFill>
                <a:schemeClr val="accent1">
                  <a:lumMod val="75000"/>
                </a:schemeClr>
              </a:solidFill>
              <a:sym typeface="Wingdings" panose="05000000000000000000" pitchFamily="2" charset="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13B131F-6C28-4667-8116-A7C109FC8356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6041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F14FCF-3F11-4880-8C2A-D6323CD47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117" y="535603"/>
            <a:ext cx="10972800" cy="467820"/>
          </a:xfrm>
        </p:spPr>
        <p:txBody>
          <a:bodyPr/>
          <a:lstStyle/>
          <a:p>
            <a:r>
              <a:rPr lang="en-US" dirty="0"/>
              <a:t>Vitamin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4B42255-F5D5-43F3-984E-BDC73E3A64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109" y="3131494"/>
            <a:ext cx="5386917" cy="2215991"/>
          </a:xfrm>
        </p:spPr>
        <p:txBody>
          <a:bodyPr/>
          <a:lstStyle/>
          <a:p>
            <a:pPr lvl="2"/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Energy crisis – BASF? </a:t>
            </a:r>
          </a:p>
          <a:p>
            <a:pPr lvl="2"/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Production cost </a:t>
            </a:r>
          </a:p>
          <a:p>
            <a:pPr lvl="2"/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Labor </a:t>
            </a:r>
          </a:p>
          <a:p>
            <a:pPr lvl="2"/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Temporary production gaps(A,E)</a:t>
            </a:r>
          </a:p>
          <a:p>
            <a:pPr lvl="2"/>
            <a:endParaRPr lang="en-US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r>
              <a:rPr lang="en-US" sz="1600" b="1" dirty="0">
                <a:solidFill>
                  <a:srgbClr val="00B050"/>
                </a:solidFill>
              </a:rPr>
              <a:t>Long term reliability</a:t>
            </a:r>
          </a:p>
          <a:p>
            <a:pPr lvl="2"/>
            <a:r>
              <a:rPr lang="en-US" sz="1600" b="1" dirty="0">
                <a:solidFill>
                  <a:srgbClr val="00B050"/>
                </a:solidFill>
              </a:rPr>
              <a:t>Efficiency</a:t>
            </a:r>
          </a:p>
          <a:p>
            <a:pPr lvl="2"/>
            <a:r>
              <a:rPr lang="en-US" sz="1600" b="1" dirty="0">
                <a:solidFill>
                  <a:srgbClr val="00B050"/>
                </a:solidFill>
              </a:rPr>
              <a:t>Quality</a:t>
            </a:r>
          </a:p>
          <a:p>
            <a:pPr lvl="2"/>
            <a:r>
              <a:rPr lang="en-US" sz="1600" b="1" dirty="0">
                <a:solidFill>
                  <a:srgbClr val="00B050"/>
                </a:solidFill>
              </a:rPr>
              <a:t>Local sourc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987FC2C-30A9-4314-8AC1-CDB3C3E01E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4" cy="1477328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02402" name="Picture 2" descr="Kína – Wikipédia">
            <a:extLst>
              <a:ext uri="{FF2B5EF4-FFF2-40B4-BE49-F238E27FC236}">
                <a16:creationId xmlns:a16="http://schemas.microsoft.com/office/drawing/2014/main" id="{B2B49D95-530D-4522-A1B3-7EC17AEEE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5990" y="1209742"/>
            <a:ext cx="1703797" cy="1703797"/>
          </a:xfrm>
          <a:prstGeom prst="rect">
            <a:avLst/>
          </a:prstGeom>
          <a:noFill/>
          <a:effectLst>
            <a:outerShdw blurRad="50800" dist="50800" dir="5400000" algn="ctr" rotWithShape="0">
              <a:srgbClr val="FFC000"/>
            </a:outerShdw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04" name="Picture 4" descr="Európai Unió – Wikipédia">
            <a:extLst>
              <a:ext uri="{FF2B5EF4-FFF2-40B4-BE49-F238E27FC236}">
                <a16:creationId xmlns:a16="http://schemas.microsoft.com/office/drawing/2014/main" id="{9FD75919-75CB-4D38-8D97-27323A448C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3302" y="1215560"/>
            <a:ext cx="1703797" cy="1703797"/>
          </a:xfrm>
          <a:prstGeom prst="rect">
            <a:avLst/>
          </a:prstGeom>
          <a:noFill/>
          <a:effectLst>
            <a:outerShdw blurRad="50800" dist="50800" dir="5400000" algn="ctr" rotWithShape="0">
              <a:srgbClr val="FFC000"/>
            </a:outerShdw>
            <a:reflection blurRad="6350" stA="50000" endA="300" endPos="3850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F307ADB4-F899-4887-832D-9231C4CFAE27}"/>
              </a:ext>
            </a:extLst>
          </p:cNvPr>
          <p:cNvSpPr txBox="1">
            <a:spLocks/>
          </p:cNvSpPr>
          <p:nvPr/>
        </p:nvSpPr>
        <p:spPr bwMode="auto">
          <a:xfrm>
            <a:off x="6498497" y="3131493"/>
            <a:ext cx="5386917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/>
            <a:r>
              <a:rPr lang="en-US" sz="1600" b="1" kern="0" dirty="0">
                <a:solidFill>
                  <a:schemeClr val="accent1">
                    <a:lumMod val="75000"/>
                  </a:schemeClr>
                </a:solidFill>
              </a:rPr>
              <a:t>Environmental issues</a:t>
            </a:r>
          </a:p>
          <a:p>
            <a:pPr lvl="2"/>
            <a:r>
              <a:rPr lang="en-US" sz="1600" b="1" kern="0" dirty="0">
                <a:solidFill>
                  <a:schemeClr val="accent1">
                    <a:lumMod val="75000"/>
                  </a:schemeClr>
                </a:solidFill>
              </a:rPr>
              <a:t>Governmental interventions, COVID etc.</a:t>
            </a:r>
          </a:p>
          <a:p>
            <a:pPr lvl="2"/>
            <a:r>
              <a:rPr lang="en-US" sz="1600" b="1" kern="0" dirty="0">
                <a:solidFill>
                  <a:schemeClr val="accent1">
                    <a:lumMod val="75000"/>
                  </a:schemeClr>
                </a:solidFill>
              </a:rPr>
              <a:t>Freight</a:t>
            </a:r>
          </a:p>
          <a:p>
            <a:pPr lvl="2"/>
            <a:r>
              <a:rPr lang="en-US" sz="1600" b="1" kern="0" dirty="0">
                <a:solidFill>
                  <a:schemeClr val="accent1">
                    <a:lumMod val="75000"/>
                  </a:schemeClr>
                </a:solidFill>
              </a:rPr>
              <a:t>Exchange rate</a:t>
            </a:r>
          </a:p>
          <a:p>
            <a:pPr lvl="2"/>
            <a:endParaRPr lang="en-US" sz="1600" b="1" kern="0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r>
              <a:rPr lang="en-US" sz="1600" b="1" kern="0" dirty="0">
                <a:solidFill>
                  <a:srgbClr val="00B050"/>
                </a:solidFill>
              </a:rPr>
              <a:t>Energy position</a:t>
            </a:r>
          </a:p>
          <a:p>
            <a:pPr lvl="2"/>
            <a:r>
              <a:rPr lang="en-US" sz="1600" b="1" kern="0" dirty="0">
                <a:solidFill>
                  <a:srgbClr val="00B050"/>
                </a:solidFill>
              </a:rPr>
              <a:t>Labor</a:t>
            </a:r>
          </a:p>
          <a:p>
            <a:pPr lvl="2"/>
            <a:r>
              <a:rPr lang="en-US" sz="1600" b="1" kern="0" dirty="0">
                <a:solidFill>
                  <a:srgbClr val="00B050"/>
                </a:solidFill>
              </a:rPr>
              <a:t>Volume</a:t>
            </a:r>
          </a:p>
          <a:p>
            <a:pPr lvl="2"/>
            <a:r>
              <a:rPr lang="en-US" sz="1600" b="1" kern="0" dirty="0">
                <a:solidFill>
                  <a:srgbClr val="00B050"/>
                </a:solidFill>
              </a:rPr>
              <a:t>Cost struct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FA674F-62E0-4FAC-860D-99FED7624493}"/>
              </a:ext>
            </a:extLst>
          </p:cNvPr>
          <p:cNvSpPr txBox="1"/>
          <p:nvPr/>
        </p:nvSpPr>
        <p:spPr>
          <a:xfrm>
            <a:off x="859692" y="5845908"/>
            <a:ext cx="86842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0070C0"/>
                </a:solidFill>
              </a:rPr>
              <a:t>Karotinoids</a:t>
            </a:r>
            <a:r>
              <a:rPr lang="en-US" dirty="0">
                <a:solidFill>
                  <a:srgbClr val="0070C0"/>
                </a:solidFill>
              </a:rPr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rought / quality of corn: egg yolk and skin pigmentation (</a:t>
            </a:r>
            <a:r>
              <a:rPr lang="en-US" dirty="0" err="1"/>
              <a:t>Carophyll</a:t>
            </a:r>
            <a:r>
              <a:rPr lang="en-US" dirty="0"/>
              <a:t> Yellow)</a:t>
            </a:r>
          </a:p>
        </p:txBody>
      </p:sp>
      <p:pic>
        <p:nvPicPr>
          <p:cNvPr id="11" name="Graphic 10" descr="Question Mark with solid fill">
            <a:extLst>
              <a:ext uri="{FF2B5EF4-FFF2-40B4-BE49-F238E27FC236}">
                <a16:creationId xmlns:a16="http://schemas.microsoft.com/office/drawing/2014/main" id="{6433CC82-D5C9-4D1C-A9D9-E2E0D1F85B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20409" y="479594"/>
            <a:ext cx="3060775" cy="3060775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4D3A226-149B-42CE-BE80-86431CCDA01C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829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7137-C932-40EA-86F0-A1D7FFEE8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355" y="1938764"/>
            <a:ext cx="10515600" cy="1957376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Bradley Hand ITC" panose="03070402050302030203" pitchFamily="66" charset="0"/>
              </a:rPr>
              <a:t>Irregular class of History</a:t>
            </a:r>
          </a:p>
        </p:txBody>
      </p:sp>
    </p:spTree>
    <p:extLst>
      <p:ext uri="{BB962C8B-B14F-4D97-AF65-F5344CB8AC3E}">
        <p14:creationId xmlns:p14="http://schemas.microsoft.com/office/powerpoint/2010/main" val="36734713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93E8E6-266A-4EE8-890F-428E83C5B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9623" y="280787"/>
            <a:ext cx="9042494" cy="467820"/>
          </a:xfrm>
        </p:spPr>
        <p:txBody>
          <a:bodyPr/>
          <a:lstStyle/>
          <a:p>
            <a:r>
              <a:rPr lang="en-US" dirty="0"/>
              <a:t>Amino acid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A3B25F-9D7B-482E-8B97-AB9F801043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629" y="748608"/>
            <a:ext cx="9046723" cy="4431983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Global demand grows, industry consolidation, supply chain security (</a:t>
            </a:r>
            <a:r>
              <a:rPr lang="en-US" dirty="0" err="1"/>
              <a:t>lys-thr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New amino acids become regular in feed formulas: Arginine, Iso-Leucine, </a:t>
            </a:r>
          </a:p>
          <a:p>
            <a:pPr marL="0" indent="0">
              <a:buNone/>
            </a:pPr>
            <a:r>
              <a:rPr lang="en-US" dirty="0"/>
              <a:t>     Histidine – already commercially available</a:t>
            </a:r>
          </a:p>
          <a:p>
            <a:endParaRPr lang="en-US" dirty="0"/>
          </a:p>
          <a:p>
            <a:r>
              <a:rPr lang="en-US" dirty="0"/>
              <a:t>DL Methionine, Lysine és Threonine: global production overcapacity with       growing demand</a:t>
            </a:r>
          </a:p>
          <a:p>
            <a:endParaRPr lang="en-US" dirty="0"/>
          </a:p>
          <a:p>
            <a:r>
              <a:rPr lang="en-US" dirty="0"/>
              <a:t>Tryptophane és Valine capacities are sufficient, further strong growth</a:t>
            </a:r>
          </a:p>
          <a:p>
            <a:endParaRPr lang="en-US" dirty="0"/>
          </a:p>
          <a:p>
            <a:r>
              <a:rPr lang="en-US" dirty="0"/>
              <a:t>Amino Acids give among the </a:t>
            </a:r>
            <a:r>
              <a:rPr lang="en-US" u="sng" dirty="0"/>
              <a:t>best opportunities </a:t>
            </a:r>
            <a:r>
              <a:rPr lang="en-US" dirty="0"/>
              <a:t>to optimize diets in respect to upcoming legislation for CFP and N-</a:t>
            </a:r>
            <a:r>
              <a:rPr lang="en-US" dirty="0" err="1"/>
              <a:t>polution</a:t>
            </a:r>
            <a:endParaRPr lang="nl-NL" dirty="0"/>
          </a:p>
          <a:p>
            <a:endParaRPr lang="en-US" dirty="0"/>
          </a:p>
          <a:p>
            <a:r>
              <a:rPr lang="en-US" dirty="0"/>
              <a:t>If carbon pricing will come in force, conscious decision about origin of products can help to save a lot of CO2 purchase, so save a lot of money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7C1331-A24E-40DD-9DB3-6C4FDC418C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941DCC-2AF1-49C0-9740-46015274142E}" type="slidenum">
              <a:rPr lang="en-US" altLang="en-US" smtClean="0"/>
              <a:pPr/>
              <a:t>20</a:t>
            </a:fld>
            <a:endParaRPr lang="en-US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E7321B-7E16-4688-A7B4-666E08A825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72732" y="592299"/>
            <a:ext cx="2953153" cy="207025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D70E430-8023-4326-826A-4D8A0E04B775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0AB29A-71B5-437D-B02F-5C8DC0CA8BD0}"/>
              </a:ext>
            </a:extLst>
          </p:cNvPr>
          <p:cNvSpPr/>
          <p:nvPr/>
        </p:nvSpPr>
        <p:spPr>
          <a:xfrm>
            <a:off x="779623" y="651566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6004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able&#10;&#10;Description automatically generated">
            <a:extLst>
              <a:ext uri="{FF2B5EF4-FFF2-40B4-BE49-F238E27FC236}">
                <a16:creationId xmlns:a16="http://schemas.microsoft.com/office/drawing/2014/main" id="{FDF805DB-54F9-491B-AD46-591B8C993F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Diffused trans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" y="208429"/>
            <a:ext cx="11971791" cy="6624748"/>
          </a:xfrm>
          <a:prstGeom prst="rect">
            <a:avLst/>
          </a:prstGeom>
          <a:noFill/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5" name="think-cell Slide" r:id="rId6" imgW="429" imgH="429" progId="TCLayout.ActiveDocument.1">
                  <p:embed/>
                </p:oleObj>
              </mc:Choice>
              <mc:Fallback>
                <p:oleObj name="think-cell Slide" r:id="rId6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667" y="383292"/>
            <a:ext cx="11262666" cy="526298"/>
          </a:xfrm>
        </p:spPr>
        <p:txBody>
          <a:bodyPr/>
          <a:lstStyle/>
          <a:p>
            <a:r>
              <a:rPr lang="en-US" sz="3600" b="1" dirty="0">
                <a:latin typeface="Trebuchet MS" panose="020B0603020202020204" pitchFamily="34" charset="0"/>
              </a:rPr>
              <a:t>Miner</a:t>
            </a:r>
            <a:r>
              <a:rPr lang="hu-HU" sz="3600" b="1" dirty="0">
                <a:latin typeface="Trebuchet MS" panose="020B0603020202020204" pitchFamily="34" charset="0"/>
              </a:rPr>
              <a:t>als and other raw materials</a:t>
            </a:r>
            <a:endParaRPr lang="en-US" sz="3600" b="1" dirty="0">
              <a:latin typeface="Trebuchet MS" panose="020B0603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E72947-7F39-4F99-945C-890544777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1CB963-F817-1583-849E-07BD9A6246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667" y="1395497"/>
            <a:ext cx="11503791" cy="4049827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The production cost of most materials increases:</a:t>
            </a:r>
            <a:endParaRPr lang="en-US" sz="1800" kern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37845" lvl="1" indent="-271145">
              <a:lnSpc>
                <a:spcPts val="2500"/>
              </a:lnSpc>
            </a:pP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Phosphoric acid (MCP, DCP); Manganese ore (</a:t>
            </a: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MnO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, MnSO4)</a:t>
            </a:r>
          </a:p>
          <a:p>
            <a:pPr marL="537845" lvl="1" indent="-271145">
              <a:lnSpc>
                <a:spcPts val="2500"/>
              </a:lnSpc>
            </a:pP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Energy (general, mostly MgO, FeSO4, </a:t>
            </a: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SoBi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, SiO2)</a:t>
            </a:r>
          </a:p>
          <a:p>
            <a:pPr marL="537845" lvl="1" indent="-271145">
              <a:lnSpc>
                <a:spcPts val="2500"/>
              </a:lnSpc>
            </a:pP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copper and zinc prices fall: -20% vs Q2</a:t>
            </a: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.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Demand decreased similarly to other feed supplements, except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KCl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– (RU, BY) and choline (EU origin)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USD vs. EUR exchange rate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Supply security has never been more important than now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The availability and price of raw materials affects the formulation (e.g. phosphorus/phytase)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Energy and freight costs remain high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Local sources (lime, salt, carrier) - carbon footprint?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endParaRPr lang="en-US" kern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51460" indent="-251460"/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"New parameters”: </a:t>
            </a:r>
          </a:p>
          <a:p>
            <a:pPr marL="537845" lvl="1" indent="-271145"/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Focus on CO2 re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0FFDA5-91B1-4020-B307-808969E16583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3318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4014788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5614" t="4305" r="36813" b="4305"/>
          <a:stretch/>
        </p:blipFill>
        <p:spPr>
          <a:xfrm>
            <a:off x="4014788" y="0"/>
            <a:ext cx="4014789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239" t="11930" r="43444" b="8007"/>
          <a:stretch/>
        </p:blipFill>
        <p:spPr>
          <a:xfrm>
            <a:off x="8029577" y="-6693"/>
            <a:ext cx="4166486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581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5614" t="4305" r="36813" b="430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41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EF3C7-63C7-4A9A-8AE5-F2A1EA00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315" y="165100"/>
            <a:ext cx="10248486" cy="1325563"/>
          </a:xfrm>
        </p:spPr>
        <p:txBody>
          <a:bodyPr/>
          <a:lstStyle/>
          <a:p>
            <a:r>
              <a:rPr lang="hu-HU" b="1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PORTFOLI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00016B-763B-478A-A5AF-78EE8C265874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Picture 28" descr="A picture containing cow, mammal, standing, brown&#10;&#10;Description automatically generated">
            <a:extLst>
              <a:ext uri="{FF2B5EF4-FFF2-40B4-BE49-F238E27FC236}">
                <a16:creationId xmlns:a16="http://schemas.microsoft.com/office/drawing/2014/main" id="{EEC2502F-0E41-42F4-9704-CD0A3E2576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460" y="0"/>
            <a:ext cx="2346049" cy="14827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7827AC2-C2B2-46B9-831E-40CF4D07A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55" y="1490663"/>
            <a:ext cx="10871254" cy="508958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40D703B-49AF-4596-8BE6-2223DDDF5CEA}"/>
              </a:ext>
            </a:extLst>
          </p:cNvPr>
          <p:cNvSpPr txBox="1"/>
          <p:nvPr/>
        </p:nvSpPr>
        <p:spPr>
          <a:xfrm>
            <a:off x="2979995" y="2846043"/>
            <a:ext cx="190901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Z ÁLLATO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GÉSZSÉGÉNE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TÁMOGATÁSA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26B0ABE-B79C-48DB-A138-018754D74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453" y="4611756"/>
            <a:ext cx="997864" cy="24498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328E719-8BA9-4B14-B389-93BE5CFAE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641" y="6166712"/>
            <a:ext cx="1036663" cy="25451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16953A3-2139-471E-B40F-564F844A84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2679" y="4856741"/>
            <a:ext cx="997864" cy="24498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DABF57F-C093-4061-B21A-6C278A70D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584" y="5738191"/>
            <a:ext cx="997864" cy="24498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20199FD-D7C9-4850-A8CD-EF266F2993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1669" y="5079488"/>
            <a:ext cx="885435" cy="19479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70D9B0C-610F-45A3-B7F3-7CACDC393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0" y="4831803"/>
            <a:ext cx="722097" cy="20407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B09B472-8B2A-433F-B5CE-3E4A19F264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8645" y="5957332"/>
            <a:ext cx="696694" cy="36376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BAA5E74-941F-4621-9914-C86985FCAA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2269" y="6381056"/>
            <a:ext cx="871839" cy="208645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9A077D6-47C2-46FA-AF95-F42893871F7D}"/>
              </a:ext>
            </a:extLst>
          </p:cNvPr>
          <p:cNvSpPr/>
          <p:nvPr/>
        </p:nvSpPr>
        <p:spPr>
          <a:xfrm>
            <a:off x="720659" y="4184374"/>
            <a:ext cx="2053827" cy="1282148"/>
          </a:xfrm>
          <a:prstGeom prst="roundRect">
            <a:avLst/>
          </a:prstGeom>
          <a:noFill/>
          <a:ln w="38100">
            <a:solidFill>
              <a:srgbClr val="C00000"/>
            </a:solidFill>
            <a:extLst>
              <a:ext uri="{C807C97D-BFC1-408E-A445-0C87EB9F89A2}">
                <ask:lineSketchStyleProps xmlns:ask="http://schemas.microsoft.com/office/drawing/2018/sketchyshapes" sd="1772922437">
                  <a:custGeom>
                    <a:avLst/>
                    <a:gdLst>
                      <a:gd name="connsiteX0" fmla="*/ 0 w 2053827"/>
                      <a:gd name="connsiteY0" fmla="*/ 213696 h 1282148"/>
                      <a:gd name="connsiteX1" fmla="*/ 213696 w 2053827"/>
                      <a:gd name="connsiteY1" fmla="*/ 0 h 1282148"/>
                      <a:gd name="connsiteX2" fmla="*/ 1840131 w 2053827"/>
                      <a:gd name="connsiteY2" fmla="*/ 0 h 1282148"/>
                      <a:gd name="connsiteX3" fmla="*/ 2053827 w 2053827"/>
                      <a:gd name="connsiteY3" fmla="*/ 213696 h 1282148"/>
                      <a:gd name="connsiteX4" fmla="*/ 2053827 w 2053827"/>
                      <a:gd name="connsiteY4" fmla="*/ 1068452 h 1282148"/>
                      <a:gd name="connsiteX5" fmla="*/ 1840131 w 2053827"/>
                      <a:gd name="connsiteY5" fmla="*/ 1282148 h 1282148"/>
                      <a:gd name="connsiteX6" fmla="*/ 213696 w 2053827"/>
                      <a:gd name="connsiteY6" fmla="*/ 1282148 h 1282148"/>
                      <a:gd name="connsiteX7" fmla="*/ 0 w 2053827"/>
                      <a:gd name="connsiteY7" fmla="*/ 1068452 h 1282148"/>
                      <a:gd name="connsiteX8" fmla="*/ 0 w 2053827"/>
                      <a:gd name="connsiteY8" fmla="*/ 213696 h 1282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053827" h="1282148" extrusionOk="0">
                        <a:moveTo>
                          <a:pt x="0" y="213696"/>
                        </a:moveTo>
                        <a:cubicBezTo>
                          <a:pt x="-14110" y="106904"/>
                          <a:pt x="101073" y="8509"/>
                          <a:pt x="213696" y="0"/>
                        </a:cubicBezTo>
                        <a:cubicBezTo>
                          <a:pt x="660173" y="47414"/>
                          <a:pt x="1213630" y="18843"/>
                          <a:pt x="1840131" y="0"/>
                        </a:cubicBezTo>
                        <a:cubicBezTo>
                          <a:pt x="1955959" y="1758"/>
                          <a:pt x="2044678" y="77876"/>
                          <a:pt x="2053827" y="213696"/>
                        </a:cubicBezTo>
                        <a:cubicBezTo>
                          <a:pt x="2002165" y="409733"/>
                          <a:pt x="1985723" y="899680"/>
                          <a:pt x="2053827" y="1068452"/>
                        </a:cubicBezTo>
                        <a:cubicBezTo>
                          <a:pt x="2054796" y="1187591"/>
                          <a:pt x="1973283" y="1281328"/>
                          <a:pt x="1840131" y="1282148"/>
                        </a:cubicBezTo>
                        <a:cubicBezTo>
                          <a:pt x="1594893" y="1297945"/>
                          <a:pt x="658452" y="1166352"/>
                          <a:pt x="213696" y="1282148"/>
                        </a:cubicBezTo>
                        <a:cubicBezTo>
                          <a:pt x="100381" y="1282685"/>
                          <a:pt x="4865" y="1188743"/>
                          <a:pt x="0" y="1068452"/>
                        </a:cubicBezTo>
                        <a:cubicBezTo>
                          <a:pt x="772" y="744626"/>
                          <a:pt x="-39740" y="528038"/>
                          <a:pt x="0" y="213696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4082E98-FCCF-43E8-9CEA-F3DAA0618EB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7316" y="1579427"/>
            <a:ext cx="10871254" cy="1919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041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7680236-AF31-4A4C-9961-ED1B0B357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925" y="457964"/>
            <a:ext cx="6641222" cy="38452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DE46DB-ACC0-4A58-803E-58E80A9E6C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5693" y="1556107"/>
            <a:ext cx="6491788" cy="374578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8521F7-F8C9-4506-B771-0FCAFDC04220}"/>
              </a:ext>
            </a:extLst>
          </p:cNvPr>
          <p:cNvSpPr txBox="1"/>
          <p:nvPr/>
        </p:nvSpPr>
        <p:spPr>
          <a:xfrm rot="2102475">
            <a:off x="8616565" y="1138390"/>
            <a:ext cx="359170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rix values are public data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28609F-292D-47EA-BAD7-FB0B6B3008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0028" y="2751530"/>
            <a:ext cx="5772141" cy="33391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034F893-9147-414B-B947-816F095E3FFA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3426" name="Picture 2" descr="DSM-Novozymes Alliance launches its new generation phytase, HiPhorius™">
            <a:extLst>
              <a:ext uri="{FF2B5EF4-FFF2-40B4-BE49-F238E27FC236}">
                <a16:creationId xmlns:a16="http://schemas.microsoft.com/office/drawing/2014/main" id="{36CFA6E9-BB3A-4A80-BD11-72AE1F9AE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925" y="457963"/>
            <a:ext cx="5111293" cy="4044841"/>
          </a:xfrm>
          <a:prstGeom prst="rect">
            <a:avLst/>
          </a:prstGeom>
          <a:noFill/>
          <a:effectLst>
            <a:glow rad="101600">
              <a:schemeClr val="accent2">
                <a:satMod val="175000"/>
                <a:alpha val="40000"/>
              </a:schemeClr>
            </a:glow>
            <a:softEdge rad="762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28" name="Picture 4" descr="DSM-Novozymes Alliance launches its second-generation protease, ProAct 360™">
            <a:extLst>
              <a:ext uri="{FF2B5EF4-FFF2-40B4-BE49-F238E27FC236}">
                <a16:creationId xmlns:a16="http://schemas.microsoft.com/office/drawing/2014/main" id="{0B147358-69BF-458F-B7EE-7E4CA3F03B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3775" y="2395976"/>
            <a:ext cx="5338041" cy="4224278"/>
          </a:xfrm>
          <a:prstGeom prst="rect">
            <a:avLst/>
          </a:prstGeom>
          <a:noFill/>
          <a:effectLst>
            <a:glow rad="139700">
              <a:schemeClr val="accent4">
                <a:satMod val="175000"/>
                <a:alpha val="40000"/>
              </a:schemeClr>
            </a:glo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0025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34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03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EF3C7-63C7-4A9A-8AE5-F2A1EA00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315" y="165100"/>
            <a:ext cx="10248486" cy="1325563"/>
          </a:xfrm>
        </p:spPr>
        <p:txBody>
          <a:bodyPr/>
          <a:lstStyle/>
          <a:p>
            <a:r>
              <a:rPr lang="hu-HU" b="1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PORTFOLI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00016B-763B-478A-A5AF-78EE8C265874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Picture 28" descr="A picture containing cow, mammal, standing, brown&#10;&#10;Description automatically generated">
            <a:extLst>
              <a:ext uri="{FF2B5EF4-FFF2-40B4-BE49-F238E27FC236}">
                <a16:creationId xmlns:a16="http://schemas.microsoft.com/office/drawing/2014/main" id="{EEC2502F-0E41-42F4-9704-CD0A3E2576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460" y="0"/>
            <a:ext cx="2346049" cy="14827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7827AC2-C2B2-46B9-831E-40CF4D07A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55" y="1490663"/>
            <a:ext cx="10871254" cy="508958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40D703B-49AF-4596-8BE6-2223DDDF5CEA}"/>
              </a:ext>
            </a:extLst>
          </p:cNvPr>
          <p:cNvSpPr txBox="1"/>
          <p:nvPr/>
        </p:nvSpPr>
        <p:spPr>
          <a:xfrm>
            <a:off x="2979995" y="2846043"/>
            <a:ext cx="190901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Z ÁLLATO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GÉSZSÉGÉNE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TÁMOGATÁSA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26B0ABE-B79C-48DB-A138-018754D74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453" y="4611756"/>
            <a:ext cx="997864" cy="24498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328E719-8BA9-4B14-B389-93BE5CFAE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641" y="6166712"/>
            <a:ext cx="1036663" cy="25451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16953A3-2139-471E-B40F-564F844A84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2679" y="4856741"/>
            <a:ext cx="997864" cy="24498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DABF57F-C093-4061-B21A-6C278A70D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584" y="5738191"/>
            <a:ext cx="997864" cy="24498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20199FD-D7C9-4850-A8CD-EF266F2993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1669" y="5079488"/>
            <a:ext cx="885435" cy="19479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70D9B0C-610F-45A3-B7F3-7CACDC393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0" y="4831803"/>
            <a:ext cx="722097" cy="20407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B09B472-8B2A-433F-B5CE-3E4A19F264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8645" y="5957332"/>
            <a:ext cx="696694" cy="36376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BAA5E74-941F-4621-9914-C86985FCAA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2269" y="6381056"/>
            <a:ext cx="871839" cy="208645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9A077D6-47C2-46FA-AF95-F42893871F7D}"/>
              </a:ext>
            </a:extLst>
          </p:cNvPr>
          <p:cNvSpPr/>
          <p:nvPr/>
        </p:nvSpPr>
        <p:spPr>
          <a:xfrm>
            <a:off x="1103999" y="5863996"/>
            <a:ext cx="1227946" cy="440091"/>
          </a:xfrm>
          <a:prstGeom prst="roundRect">
            <a:avLst/>
          </a:prstGeom>
          <a:noFill/>
          <a:ln w="38100">
            <a:solidFill>
              <a:srgbClr val="C00000"/>
            </a:solidFill>
            <a:extLst>
              <a:ext uri="{C807C97D-BFC1-408E-A445-0C87EB9F89A2}">
                <ask:lineSketchStyleProps xmlns:ask="http://schemas.microsoft.com/office/drawing/2018/sketchyshapes" sd="1772922437">
                  <a:custGeom>
                    <a:avLst/>
                    <a:gdLst>
                      <a:gd name="connsiteX0" fmla="*/ 0 w 1227946"/>
                      <a:gd name="connsiteY0" fmla="*/ 73350 h 440091"/>
                      <a:gd name="connsiteX1" fmla="*/ 73350 w 1227946"/>
                      <a:gd name="connsiteY1" fmla="*/ 0 h 440091"/>
                      <a:gd name="connsiteX2" fmla="*/ 1154596 w 1227946"/>
                      <a:gd name="connsiteY2" fmla="*/ 0 h 440091"/>
                      <a:gd name="connsiteX3" fmla="*/ 1227946 w 1227946"/>
                      <a:gd name="connsiteY3" fmla="*/ 73350 h 440091"/>
                      <a:gd name="connsiteX4" fmla="*/ 1227946 w 1227946"/>
                      <a:gd name="connsiteY4" fmla="*/ 366741 h 440091"/>
                      <a:gd name="connsiteX5" fmla="*/ 1154596 w 1227946"/>
                      <a:gd name="connsiteY5" fmla="*/ 440091 h 440091"/>
                      <a:gd name="connsiteX6" fmla="*/ 73350 w 1227946"/>
                      <a:gd name="connsiteY6" fmla="*/ 440091 h 440091"/>
                      <a:gd name="connsiteX7" fmla="*/ 0 w 1227946"/>
                      <a:gd name="connsiteY7" fmla="*/ 366741 h 440091"/>
                      <a:gd name="connsiteX8" fmla="*/ 0 w 1227946"/>
                      <a:gd name="connsiteY8" fmla="*/ 73350 h 4400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27946" h="440091" extrusionOk="0">
                        <a:moveTo>
                          <a:pt x="0" y="73350"/>
                        </a:moveTo>
                        <a:cubicBezTo>
                          <a:pt x="-977" y="33617"/>
                          <a:pt x="33334" y="779"/>
                          <a:pt x="73350" y="0"/>
                        </a:cubicBezTo>
                        <a:cubicBezTo>
                          <a:pt x="426819" y="-65637"/>
                          <a:pt x="1041153" y="90092"/>
                          <a:pt x="1154596" y="0"/>
                        </a:cubicBezTo>
                        <a:cubicBezTo>
                          <a:pt x="1189597" y="4416"/>
                          <a:pt x="1225322" y="27735"/>
                          <a:pt x="1227946" y="73350"/>
                        </a:cubicBezTo>
                        <a:cubicBezTo>
                          <a:pt x="1226002" y="182677"/>
                          <a:pt x="1247421" y="299358"/>
                          <a:pt x="1227946" y="366741"/>
                        </a:cubicBezTo>
                        <a:cubicBezTo>
                          <a:pt x="1230555" y="410262"/>
                          <a:pt x="1197146" y="439980"/>
                          <a:pt x="1154596" y="440091"/>
                        </a:cubicBezTo>
                        <a:cubicBezTo>
                          <a:pt x="635214" y="482634"/>
                          <a:pt x="577501" y="391614"/>
                          <a:pt x="73350" y="440091"/>
                        </a:cubicBezTo>
                        <a:cubicBezTo>
                          <a:pt x="34232" y="440250"/>
                          <a:pt x="5289" y="409718"/>
                          <a:pt x="0" y="366741"/>
                        </a:cubicBezTo>
                        <a:cubicBezTo>
                          <a:pt x="1749" y="333564"/>
                          <a:pt x="-11714" y="178135"/>
                          <a:pt x="0" y="7335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DAB8F9E-820E-46AC-B920-A924C69480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7316" y="1579427"/>
            <a:ext cx="10871254" cy="1919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62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/>
          <a:lstStyle/>
          <a:p>
            <a:r>
              <a:rPr lang="hu-HU" dirty="0"/>
              <a:t>Mycotoxin levels in Central Europe, </a:t>
            </a:r>
            <a:r>
              <a:rPr dirty="0"/>
              <a:t>2022</a:t>
            </a:r>
          </a:p>
        </p:txBody>
      </p:sp>
      <p:pic>
        <p:nvPicPr>
          <p:cNvPr id="3" name="Content Placeholder 2"/>
          <p:cNvPicPr>
            <a:picLocks noGrp="1"/>
          </p:cNvPicPr>
          <p:nvPr>
            <p:ph/>
          </p:nvPr>
        </p:nvPicPr>
        <p:blipFill>
          <a:blip r:embed="rId2" cstate="print"/>
          <a:stretch>
            <a:fillRect/>
          </a:stretch>
        </p:blipFill>
        <p:spPr>
          <a:xfrm>
            <a:off x="262800" y="3063240"/>
            <a:ext cx="6678000" cy="2952000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/>
          </p:cNvPicPr>
          <p:nvPr>
            <p:ph/>
          </p:nvPr>
        </p:nvPicPr>
        <p:blipFill>
          <a:blip r:embed="rId3" cstate="print"/>
          <a:stretch>
            <a:fillRect/>
          </a:stretch>
        </p:blipFill>
        <p:spPr>
          <a:xfrm>
            <a:off x="7290000" y="3063240"/>
            <a:ext cx="4636800" cy="2952000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203200" y="914400"/>
          <a:ext cx="8229600" cy="1600200"/>
        </p:xfrm>
        <a:graphic>
          <a:graphicData uri="http://schemas.openxmlformats.org/drawingml/2006/table">
            <a:tbl>
              <a:tblPr/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Paramet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Afl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ZE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D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T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 dirty="0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FU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OT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Number of sample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7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2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3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5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% Contaminated sample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5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6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dirty="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% Above risk threshol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Average of positives (ppb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7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68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57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Median of positives (ppb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3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3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Maximum (ppb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4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12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3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5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dirty="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8C8B0C9-AB0F-45BE-9A36-A7947BD22107}"/>
              </a:ext>
            </a:extLst>
          </p:cNvPr>
          <p:cNvSpPr/>
          <p:nvPr/>
        </p:nvSpPr>
        <p:spPr>
          <a:xfrm>
            <a:off x="10825018" y="0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758" y="301746"/>
            <a:ext cx="8170224" cy="387798"/>
          </a:xfrm>
        </p:spPr>
        <p:txBody>
          <a:bodyPr/>
          <a:lstStyle/>
          <a:p>
            <a:r>
              <a:rPr lang="hu-HU" dirty="0"/>
              <a:t>Mycotoxin trends from 2018 in Central Europe</a:t>
            </a:r>
            <a:endParaRPr dirty="0"/>
          </a:p>
        </p:txBody>
      </p:sp>
      <p:pic>
        <p:nvPicPr>
          <p:cNvPr id="3" name="Content Placeholder 2"/>
          <p:cNvPicPr>
            <a:picLocks noGrp="1"/>
          </p:cNvPicPr>
          <p:nvPr>
            <p:ph/>
          </p:nvPr>
        </p:nvPicPr>
        <p:blipFill>
          <a:blip r:embed="rId2" cstate="print"/>
          <a:stretch>
            <a:fillRect/>
          </a:stretch>
        </p:blipFill>
        <p:spPr>
          <a:xfrm>
            <a:off x="0" y="914399"/>
            <a:ext cx="12188952" cy="516312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5BD5340-6661-4C03-B7AE-B160EFB4A7C6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lass of water being poured into a glass&#10;&#10;Description automatically generated with low confidence">
            <a:extLst>
              <a:ext uri="{FF2B5EF4-FFF2-40B4-BE49-F238E27FC236}">
                <a16:creationId xmlns:a16="http://schemas.microsoft.com/office/drawing/2014/main" id="{5429FD73-78DC-44DE-9BCA-AD16161269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565" y="828352"/>
            <a:ext cx="3162984" cy="1398016"/>
          </a:xfrm>
          <a:prstGeom prst="rect">
            <a:avLst/>
          </a:prstGeom>
        </p:spPr>
      </p:pic>
      <p:pic>
        <p:nvPicPr>
          <p:cNvPr id="9" name="Picture 8" descr="A picture containing cow, sky, bovine, mammal&#10;&#10;Description automatically generated">
            <a:extLst>
              <a:ext uri="{FF2B5EF4-FFF2-40B4-BE49-F238E27FC236}">
                <a16:creationId xmlns:a16="http://schemas.microsoft.com/office/drawing/2014/main" id="{B33ACB45-FFED-4D3A-A94B-24ECF78E96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726" y="849066"/>
            <a:ext cx="2062764" cy="13773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99A5F0-5093-42C8-BAE4-E561713DF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 wrap="square" anchor="t">
            <a:normAutofit/>
          </a:bodyPr>
          <a:lstStyle/>
          <a:p>
            <a:r>
              <a:rPr lang="hu-HU" dirty="0"/>
              <a:t>Mycotoxin new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EC7664E-C5CA-4ECA-B10D-F7388DC1BA79}"/>
              </a:ext>
            </a:extLst>
          </p:cNvPr>
          <p:cNvSpPr txBox="1">
            <a:spLocks/>
          </p:cNvSpPr>
          <p:nvPr/>
        </p:nvSpPr>
        <p:spPr>
          <a:xfrm>
            <a:off x="915280" y="1067724"/>
            <a:ext cx="5259964" cy="5790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rgbClr val="007E4B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flatoxin risk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	</a:t>
            </a:r>
            <a:r>
              <a:rPr kumimoji="0" lang="hu-HU" sz="2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(+ others)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hu-HU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hu-HU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 new scientific opinion of EFSA 2022: risk assessment of FUM in pigs, poultry</a:t>
            </a:r>
            <a:endParaRPr kumimoji="0" lang="hu-HU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hu-HU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New insights on “emerging”</a:t>
            </a:r>
            <a:r>
              <a:rPr kumimoji="0" lang="hu-H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nd „masked”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mycotoxins</a:t>
            </a:r>
            <a:endParaRPr kumimoji="0" lang="hu-HU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hu-HU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!</a:t>
            </a:r>
            <a:endParaRPr kumimoji="0" lang="hu-HU" sz="2800" b="0" i="0" u="none" strike="noStrike" kern="1200" cap="none" spc="0" normalizeH="0" baseline="0" noProof="0" dirty="0">
              <a:ln>
                <a:noFill/>
              </a:ln>
              <a:solidFill>
                <a:srgbClr val="007E4B"/>
              </a:solidFill>
              <a:effectLst/>
              <a:uLnTx/>
              <a:uFillTx/>
              <a:latin typeface="Fira Sans Medium"/>
              <a:ea typeface="+mj-ea"/>
              <a:cs typeface="+mj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D3D5281-6A02-4BF7-9830-5C585096CD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7490" y="2267572"/>
            <a:ext cx="2814492" cy="161254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60F2F93-6CE3-4301-97EC-A46AD9565A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4091" y="4032071"/>
            <a:ext cx="2814492" cy="198448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08073E-EE73-47B1-BE95-BDB8064041EF}"/>
              </a:ext>
            </a:extLst>
          </p:cNvPr>
          <p:cNvSpPr txBox="1"/>
          <p:nvPr/>
        </p:nvSpPr>
        <p:spPr>
          <a:xfrm>
            <a:off x="9640219" y="4134707"/>
            <a:ext cx="2369598" cy="1323439"/>
          </a:xfrm>
          <a:prstGeom prst="rect">
            <a:avLst/>
          </a:prstGeom>
          <a:solidFill>
            <a:srgbClr val="18B7F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>
            <a:defPPr>
              <a:defRPr lang="en-US"/>
            </a:defPPr>
            <a:lvl2pPr marL="0" lvl="1" algn="ctr">
              <a:defRPr sz="1400" b="1" ker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merging mycotoxins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requently found on agricultural commodities, not regulated; toxicity is under investigation, but toxic effects suggested in some scientific literature; EFSA started to publish reports to do a risk assessment for these toxins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494EA-F3F9-4E77-A415-F3154A4963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56437" y="798589"/>
            <a:ext cx="3413143" cy="136613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BF8DC06-854D-41EC-BBF5-584F183F08FB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6FCACDE-ED49-406D-AD3A-D4B87154623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7739" y="5458146"/>
            <a:ext cx="2250104" cy="157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03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>
            <a:extLst>
              <a:ext uri="{FF2B5EF4-FFF2-40B4-BE49-F238E27FC236}">
                <a16:creationId xmlns:a16="http://schemas.microsoft.com/office/drawing/2014/main" id="{69F3965C-ECCF-46E7-8946-9D54D663A1D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45" t="26161" r="33722" b="24747"/>
          <a:stretch/>
        </p:blipFill>
        <p:spPr>
          <a:xfrm>
            <a:off x="6630818" y="3584773"/>
            <a:ext cx="1660658" cy="2181298"/>
          </a:xfrm>
          <a:prstGeom prst="rect">
            <a:avLst/>
          </a:prstGeom>
        </p:spPr>
      </p:pic>
      <p:pic>
        <p:nvPicPr>
          <p:cNvPr id="18" name="Picture 17" descr="A picture containing tree, outdoor, sky, house&#10;&#10;Description automatically generated">
            <a:extLst>
              <a:ext uri="{FF2B5EF4-FFF2-40B4-BE49-F238E27FC236}">
                <a16:creationId xmlns:a16="http://schemas.microsoft.com/office/drawing/2014/main" id="{629159AA-83FC-44E9-BDC2-7E498B8CBA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570" y="4229110"/>
            <a:ext cx="1624639" cy="1368726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3" name="Picture 12" descr="A group of people standing on a porch&#10;&#10;Description automatically generated with medium confidence">
            <a:extLst>
              <a:ext uri="{FF2B5EF4-FFF2-40B4-BE49-F238E27FC236}">
                <a16:creationId xmlns:a16="http://schemas.microsoft.com/office/drawing/2014/main" id="{FB738864-20AD-4D00-9164-2388CC9E44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935" y="4548611"/>
            <a:ext cx="1463140" cy="1097355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7" name="Picture 6" descr="A picture containing blue, indoor, metal&#10;&#10;Description automatically generated">
            <a:extLst>
              <a:ext uri="{FF2B5EF4-FFF2-40B4-BE49-F238E27FC236}">
                <a16:creationId xmlns:a16="http://schemas.microsoft.com/office/drawing/2014/main" id="{9341793B-F5E0-4730-A2A6-A1055A8243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229" y="1473525"/>
            <a:ext cx="1435682" cy="1760844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6" name="Picture 15" descr="A building with cars parked in front&#10;&#10;Description automatically generated with low confidence">
            <a:extLst>
              <a:ext uri="{FF2B5EF4-FFF2-40B4-BE49-F238E27FC236}">
                <a16:creationId xmlns:a16="http://schemas.microsoft.com/office/drawing/2014/main" id="{2F98C5D5-3593-446E-8359-E279F3620B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980" y="2834789"/>
            <a:ext cx="2424422" cy="1818317"/>
          </a:xfrm>
          <a:prstGeom prst="rect">
            <a:avLst/>
          </a:prstGeom>
          <a:effectLst>
            <a:softEdge rad="76200"/>
          </a:effectLst>
        </p:spPr>
      </p:pic>
      <p:pic>
        <p:nvPicPr>
          <p:cNvPr id="3" name="Picture 2" descr="A group of people sitting on the grass with a sign&#10;&#10;Description automatically generated with low confidence">
            <a:extLst>
              <a:ext uri="{FF2B5EF4-FFF2-40B4-BE49-F238E27FC236}">
                <a16:creationId xmlns:a16="http://schemas.microsoft.com/office/drawing/2014/main" id="{8CACBDAA-BC25-4851-9C56-770B64FCFD3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9158" y="3680129"/>
            <a:ext cx="2374529" cy="1581809"/>
          </a:xfrm>
          <a:prstGeom prst="rect">
            <a:avLst/>
          </a:prstGeom>
          <a:effectLst>
            <a:softEdge rad="76200"/>
          </a:effectLst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E0FA2F0-AD70-456D-97BE-C4684CF98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7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E0FA2F0-AD70-456D-97BE-C4684CF98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3AF8B50-DA72-4D2D-A2F6-AE55B35B3A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 Medium" panose="020B0603050000020004" pitchFamily="34" charset="0"/>
              <a:ea typeface="+mn-ea"/>
              <a:cs typeface="+mn-cs"/>
              <a:sym typeface="Fira Sans Medium" panose="020B06030500000200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31FE367-5C83-4339-A0C7-A8EC742D9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05" y="61368"/>
            <a:ext cx="2830007" cy="869202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Bradley Hand ITC" panose="03070402050302030203" pitchFamily="66" charset="0"/>
              </a:rPr>
              <a:t>20 </a:t>
            </a:r>
            <a:r>
              <a:rPr lang="hu-HU" b="1" dirty="0">
                <a:solidFill>
                  <a:schemeClr val="bg1"/>
                </a:solidFill>
                <a:latin typeface="Bradley Hand ITC" panose="03070402050302030203" pitchFamily="66" charset="0"/>
              </a:rPr>
              <a:t>years</a:t>
            </a:r>
            <a:r>
              <a:rPr lang="en-US" b="1" dirty="0">
                <a:solidFill>
                  <a:schemeClr val="bg1"/>
                </a:solidFill>
                <a:latin typeface="Bradley Hand ITC" panose="03070402050302030203" pitchFamily="66" charset="0"/>
              </a:rPr>
              <a:t>… </a:t>
            </a:r>
            <a:endParaRPr lang="en-US" b="1" noProof="0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25AA239-1B8B-4226-9F11-0CB9828A4808}"/>
              </a:ext>
            </a:extLst>
          </p:cNvPr>
          <p:cNvGrpSpPr/>
          <p:nvPr/>
        </p:nvGrpSpPr>
        <p:grpSpPr>
          <a:xfrm>
            <a:off x="958585" y="3211299"/>
            <a:ext cx="10674696" cy="3235373"/>
            <a:chOff x="1198888" y="3136604"/>
            <a:chExt cx="10674696" cy="3235373"/>
          </a:xfrm>
        </p:grpSpPr>
        <p:sp>
          <p:nvSpPr>
            <p:cNvPr id="17475" name="Freeform 99">
              <a:extLst>
                <a:ext uri="{FF2B5EF4-FFF2-40B4-BE49-F238E27FC236}">
                  <a16:creationId xmlns:a16="http://schemas.microsoft.com/office/drawing/2014/main" id="{A78B9D64-DDF0-4746-AF89-7414440F23BC}"/>
                </a:ext>
              </a:extLst>
            </p:cNvPr>
            <p:cNvSpPr>
              <a:spLocks/>
            </p:cNvSpPr>
            <p:nvPr/>
          </p:nvSpPr>
          <p:spPr bwMode="auto">
            <a:xfrm rot="21307981">
              <a:off x="1198888" y="3136604"/>
              <a:ext cx="10497258" cy="1719790"/>
            </a:xfrm>
            <a:custGeom>
              <a:avLst/>
              <a:gdLst>
                <a:gd name="T0" fmla="*/ 0 w 11696"/>
                <a:gd name="T1" fmla="*/ 2192 h 2192"/>
                <a:gd name="T2" fmla="*/ 11148 w 11696"/>
                <a:gd name="T3" fmla="*/ 274 h 2192"/>
                <a:gd name="T4" fmla="*/ 11118 w 11696"/>
                <a:gd name="T5" fmla="*/ 0 h 2192"/>
                <a:gd name="T6" fmla="*/ 11696 w 11696"/>
                <a:gd name="T7" fmla="*/ 439 h 2192"/>
                <a:gd name="T8" fmla="*/ 11241 w 11696"/>
                <a:gd name="T9" fmla="*/ 1096 h 2192"/>
                <a:gd name="T10" fmla="*/ 11210 w 11696"/>
                <a:gd name="T11" fmla="*/ 822 h 2192"/>
                <a:gd name="T12" fmla="*/ 0 w 11696"/>
                <a:gd name="T13" fmla="*/ 2192 h 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6" h="2192">
                  <a:moveTo>
                    <a:pt x="0" y="2192"/>
                  </a:moveTo>
                  <a:cubicBezTo>
                    <a:pt x="1300" y="1218"/>
                    <a:pt x="5016" y="579"/>
                    <a:pt x="11148" y="274"/>
                  </a:cubicBezTo>
                  <a:lnTo>
                    <a:pt x="11118" y="0"/>
                  </a:lnTo>
                  <a:lnTo>
                    <a:pt x="11696" y="439"/>
                  </a:lnTo>
                  <a:lnTo>
                    <a:pt x="11241" y="1096"/>
                  </a:lnTo>
                  <a:lnTo>
                    <a:pt x="11210" y="822"/>
                  </a:lnTo>
                  <a:cubicBezTo>
                    <a:pt x="5686" y="944"/>
                    <a:pt x="1950" y="1401"/>
                    <a:pt x="0" y="2192"/>
                  </a:cubicBezTo>
                  <a:close/>
                </a:path>
              </a:pathLst>
            </a:custGeom>
            <a:gradFill>
              <a:gsLst>
                <a:gs pos="85000">
                  <a:schemeClr val="bg1">
                    <a:lumMod val="65000"/>
                  </a:schemeClr>
                </a:gs>
                <a:gs pos="54000">
                  <a:schemeClr val="accent3"/>
                </a:gs>
                <a:gs pos="26000">
                  <a:srgbClr val="45AC34"/>
                </a:gs>
              </a:gsLst>
              <a:lin ang="13800000" scaled="0"/>
            </a:gradFill>
            <a:ln w="444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78" name="Rectangle 102">
              <a:extLst>
                <a:ext uri="{FF2B5EF4-FFF2-40B4-BE49-F238E27FC236}">
                  <a16:creationId xmlns:a16="http://schemas.microsoft.com/office/drawing/2014/main" id="{172F606A-AA19-4EFB-A85D-3AED6E405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05507" y="6094978"/>
              <a:ext cx="4680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807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2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0" name="Rectangle 102">
            <a:extLst>
              <a:ext uri="{FF2B5EF4-FFF2-40B4-BE49-F238E27FC236}">
                <a16:creationId xmlns:a16="http://schemas.microsoft.com/office/drawing/2014/main" id="{B9621B48-011E-4E23-BA1E-5C00F2979C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7337" y="6208957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80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9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102">
            <a:extLst>
              <a:ext uri="{FF2B5EF4-FFF2-40B4-BE49-F238E27FC236}">
                <a16:creationId xmlns:a16="http://schemas.microsoft.com/office/drawing/2014/main" id="{254BBBA0-55A4-4BCC-8498-71E45A6B8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4698" y="6211078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80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4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102">
            <a:extLst>
              <a:ext uri="{FF2B5EF4-FFF2-40B4-BE49-F238E27FC236}">
                <a16:creationId xmlns:a16="http://schemas.microsoft.com/office/drawing/2014/main" id="{1AEF66B5-6BFA-4C9C-803A-2039DFC163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757" y="6211610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80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37">
            <a:extLst>
              <a:ext uri="{FF2B5EF4-FFF2-40B4-BE49-F238E27FC236}">
                <a16:creationId xmlns:a16="http://schemas.microsoft.com/office/drawing/2014/main" id="{C2E31270-0B90-4140-8CA8-FB3D372C01CF}"/>
              </a:ext>
            </a:extLst>
          </p:cNvPr>
          <p:cNvSpPr txBox="1"/>
          <p:nvPr/>
        </p:nvSpPr>
        <p:spPr>
          <a:xfrm>
            <a:off x="2198386" y="1023742"/>
            <a:ext cx="5918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DSM</a:t>
            </a:r>
          </a:p>
        </p:txBody>
      </p:sp>
      <p:sp>
        <p:nvSpPr>
          <p:cNvPr id="34" name="Rectangle 102">
            <a:extLst>
              <a:ext uri="{FF2B5EF4-FFF2-40B4-BE49-F238E27FC236}">
                <a16:creationId xmlns:a16="http://schemas.microsoft.com/office/drawing/2014/main" id="{779F1455-A26F-4904-828A-042EA0A537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131" y="6182394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80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102">
            <a:extLst>
              <a:ext uri="{FF2B5EF4-FFF2-40B4-BE49-F238E27FC236}">
                <a16:creationId xmlns:a16="http://schemas.microsoft.com/office/drawing/2014/main" id="{161614E5-C9C5-4AB0-893D-FC4194612D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7664" y="6201732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80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angle 102">
            <a:extLst>
              <a:ext uri="{FF2B5EF4-FFF2-40B4-BE49-F238E27FC236}">
                <a16:creationId xmlns:a16="http://schemas.microsoft.com/office/drawing/2014/main" id="{0701F3D2-58D0-4D5B-BE16-CDB49D647E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1476" y="6169673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80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102">
            <a:extLst>
              <a:ext uri="{FF2B5EF4-FFF2-40B4-BE49-F238E27FC236}">
                <a16:creationId xmlns:a16="http://schemas.microsoft.com/office/drawing/2014/main" id="{2C70585E-90BB-47C1-A19E-961AB13A8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7869" y="6182394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807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1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40">
            <a:extLst>
              <a:ext uri="{FF2B5EF4-FFF2-40B4-BE49-F238E27FC236}">
                <a16:creationId xmlns:a16="http://schemas.microsoft.com/office/drawing/2014/main" id="{EFDD0D20-4460-41AA-BA3A-7E9E19E782A7}"/>
              </a:ext>
            </a:extLst>
          </p:cNvPr>
          <p:cNvSpPr txBox="1"/>
          <p:nvPr/>
        </p:nvSpPr>
        <p:spPr>
          <a:xfrm>
            <a:off x="6861247" y="1024518"/>
            <a:ext cx="9841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20,000 to</a:t>
            </a:r>
          </a:p>
        </p:txBody>
      </p:sp>
      <p:sp>
        <p:nvSpPr>
          <p:cNvPr id="39" name="TextBox 40">
            <a:extLst>
              <a:ext uri="{FF2B5EF4-FFF2-40B4-BE49-F238E27FC236}">
                <a16:creationId xmlns:a16="http://schemas.microsoft.com/office/drawing/2014/main" id="{4ED34918-8FD2-4402-BD41-8681B7CA0DB5}"/>
              </a:ext>
            </a:extLst>
          </p:cNvPr>
          <p:cNvSpPr txBox="1"/>
          <p:nvPr/>
        </p:nvSpPr>
        <p:spPr>
          <a:xfrm>
            <a:off x="10190689" y="1023742"/>
            <a:ext cx="7897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TA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project</a:t>
            </a:r>
          </a:p>
        </p:txBody>
      </p:sp>
      <p:pic>
        <p:nvPicPr>
          <p:cNvPr id="41" name="Picture 110">
            <a:extLst>
              <a:ext uri="{FF2B5EF4-FFF2-40B4-BE49-F238E27FC236}">
                <a16:creationId xmlns:a16="http://schemas.microsoft.com/office/drawing/2014/main" id="{29F92D0B-56A5-4728-8CF8-4F143FC81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0456" y="1648226"/>
            <a:ext cx="949791" cy="31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Shape&#10;&#10;Description automatically generated with low confidence">
            <a:extLst>
              <a:ext uri="{FF2B5EF4-FFF2-40B4-BE49-F238E27FC236}">
                <a16:creationId xmlns:a16="http://schemas.microsoft.com/office/drawing/2014/main" id="{5155713D-2D2E-4CAE-91BC-7EBC09AC5C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04" y="1770115"/>
            <a:ext cx="723901" cy="419101"/>
          </a:xfrm>
          <a:prstGeom prst="rect">
            <a:avLst/>
          </a:prstGeom>
        </p:spPr>
      </p:pic>
      <p:pic>
        <p:nvPicPr>
          <p:cNvPr id="21" name="Picture 2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168A366-2936-42C0-B17C-765675A694A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467" y="5508793"/>
            <a:ext cx="1391956" cy="471850"/>
          </a:xfrm>
          <a:prstGeom prst="rect">
            <a:avLst/>
          </a:prstGeom>
        </p:spPr>
      </p:pic>
      <p:pic>
        <p:nvPicPr>
          <p:cNvPr id="23" name="Picture 2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1973927-6018-4E1A-90A9-41719D7DACA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46" y="5435354"/>
            <a:ext cx="1042208" cy="370489"/>
          </a:xfrm>
          <a:prstGeom prst="rect">
            <a:avLst/>
          </a:prstGeom>
        </p:spPr>
      </p:pic>
      <p:pic>
        <p:nvPicPr>
          <p:cNvPr id="15" name="Picture 14" descr="A picture containing sky, outdoor, tower&#10;&#10;Description automatically generated">
            <a:extLst>
              <a:ext uri="{FF2B5EF4-FFF2-40B4-BE49-F238E27FC236}">
                <a16:creationId xmlns:a16="http://schemas.microsoft.com/office/drawing/2014/main" id="{7D76D770-F1CC-4591-AF15-7F8CEAB03A4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721" y="1596581"/>
            <a:ext cx="1271049" cy="1571497"/>
          </a:xfrm>
          <a:prstGeom prst="rect">
            <a:avLst/>
          </a:prstGeom>
          <a:effectLst>
            <a:softEdge rad="76200"/>
          </a:effectLst>
        </p:spPr>
      </p:pic>
      <p:sp>
        <p:nvSpPr>
          <p:cNvPr id="29" name="Freeform 99">
            <a:extLst>
              <a:ext uri="{FF2B5EF4-FFF2-40B4-BE49-F238E27FC236}">
                <a16:creationId xmlns:a16="http://schemas.microsoft.com/office/drawing/2014/main" id="{8D7F07AF-8FFD-49DB-9A43-8C1EE8D4CF73}"/>
              </a:ext>
            </a:extLst>
          </p:cNvPr>
          <p:cNvSpPr>
            <a:spLocks/>
          </p:cNvSpPr>
          <p:nvPr/>
        </p:nvSpPr>
        <p:spPr bwMode="auto">
          <a:xfrm rot="21248097" flipV="1">
            <a:off x="313966" y="1837743"/>
            <a:ext cx="11123058" cy="2389475"/>
          </a:xfrm>
          <a:custGeom>
            <a:avLst/>
            <a:gdLst>
              <a:gd name="T0" fmla="*/ 0 w 11696"/>
              <a:gd name="T1" fmla="*/ 2192 h 2192"/>
              <a:gd name="T2" fmla="*/ 11148 w 11696"/>
              <a:gd name="T3" fmla="*/ 274 h 2192"/>
              <a:gd name="T4" fmla="*/ 11118 w 11696"/>
              <a:gd name="T5" fmla="*/ 0 h 2192"/>
              <a:gd name="T6" fmla="*/ 11696 w 11696"/>
              <a:gd name="T7" fmla="*/ 439 h 2192"/>
              <a:gd name="T8" fmla="*/ 11241 w 11696"/>
              <a:gd name="T9" fmla="*/ 1096 h 2192"/>
              <a:gd name="T10" fmla="*/ 11210 w 11696"/>
              <a:gd name="T11" fmla="*/ 822 h 2192"/>
              <a:gd name="T12" fmla="*/ 0 w 11696"/>
              <a:gd name="T13" fmla="*/ 2192 h 2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6" h="2192">
                <a:moveTo>
                  <a:pt x="0" y="2192"/>
                </a:moveTo>
                <a:cubicBezTo>
                  <a:pt x="1300" y="1218"/>
                  <a:pt x="5016" y="579"/>
                  <a:pt x="11148" y="274"/>
                </a:cubicBezTo>
                <a:lnTo>
                  <a:pt x="11118" y="0"/>
                </a:lnTo>
                <a:lnTo>
                  <a:pt x="11696" y="439"/>
                </a:lnTo>
                <a:lnTo>
                  <a:pt x="11241" y="1096"/>
                </a:lnTo>
                <a:lnTo>
                  <a:pt x="11210" y="822"/>
                </a:lnTo>
                <a:cubicBezTo>
                  <a:pt x="5686" y="944"/>
                  <a:pt x="1950" y="1401"/>
                  <a:pt x="0" y="2192"/>
                </a:cubicBezTo>
                <a:close/>
              </a:path>
            </a:pathLst>
          </a:custGeom>
          <a:gradFill>
            <a:gsLst>
              <a:gs pos="85000">
                <a:schemeClr val="bg1">
                  <a:lumMod val="65000"/>
                </a:schemeClr>
              </a:gs>
              <a:gs pos="54000">
                <a:schemeClr val="accent3"/>
              </a:gs>
              <a:gs pos="26000">
                <a:srgbClr val="45AC34"/>
              </a:gs>
            </a:gsLst>
            <a:lin ang="13800000" scaled="0"/>
          </a:gradFill>
          <a:ln w="4445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121807" tIns="60904" rIns="121807" bIns="6090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553" name="Picture 25">
            <a:extLst>
              <a:ext uri="{FF2B5EF4-FFF2-40B4-BE49-F238E27FC236}">
                <a16:creationId xmlns:a16="http://schemas.microsoft.com/office/drawing/2014/main" id="{51006EB5-969F-43CC-85B3-AC02A3BE0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5313" y="1626327"/>
            <a:ext cx="1648574" cy="1099049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97">
            <a:extLst>
              <a:ext uri="{FF2B5EF4-FFF2-40B4-BE49-F238E27FC236}">
                <a16:creationId xmlns:a16="http://schemas.microsoft.com/office/drawing/2014/main" id="{6F41E877-EFDA-4592-BAAE-C74060A97C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1946" y="1781561"/>
            <a:ext cx="1118283" cy="492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3255CBFA-7996-4251-BFFD-249DA223513A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37">
            <a:extLst>
              <a:ext uri="{FF2B5EF4-FFF2-40B4-BE49-F238E27FC236}">
                <a16:creationId xmlns:a16="http://schemas.microsoft.com/office/drawing/2014/main" id="{73792D23-71B1-418C-9121-51BD962811AF}"/>
              </a:ext>
            </a:extLst>
          </p:cNvPr>
          <p:cNvSpPr txBox="1"/>
          <p:nvPr/>
        </p:nvSpPr>
        <p:spPr>
          <a:xfrm>
            <a:off x="679931" y="1013217"/>
            <a:ext cx="77867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Premix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plant</a:t>
            </a:r>
          </a:p>
        </p:txBody>
      </p:sp>
      <p:sp>
        <p:nvSpPr>
          <p:cNvPr id="50" name="TextBox 39">
            <a:extLst>
              <a:ext uri="{FF2B5EF4-FFF2-40B4-BE49-F238E27FC236}">
                <a16:creationId xmlns:a16="http://schemas.microsoft.com/office/drawing/2014/main" id="{CD657697-2868-48A2-A94C-966D88A0EDA4}"/>
              </a:ext>
            </a:extLst>
          </p:cNvPr>
          <p:cNvSpPr txBox="1"/>
          <p:nvPr/>
        </p:nvSpPr>
        <p:spPr>
          <a:xfrm>
            <a:off x="3422317" y="985713"/>
            <a:ext cx="13571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err="1">
                <a:solidFill>
                  <a:schemeClr val="bg1"/>
                </a:solidFill>
                <a:cs typeface="Arial" charset="0"/>
              </a:rPr>
              <a:t>Czeh</a:t>
            </a:r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 &amp; </a:t>
            </a:r>
            <a:r>
              <a:rPr lang="en-US" sz="1600" b="1" dirty="0" err="1">
                <a:solidFill>
                  <a:schemeClr val="bg1"/>
                </a:solidFill>
                <a:cs typeface="Arial" charset="0"/>
              </a:rPr>
              <a:t>slovak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market</a:t>
            </a:r>
          </a:p>
        </p:txBody>
      </p:sp>
      <p:sp>
        <p:nvSpPr>
          <p:cNvPr id="51" name="TextBox 40">
            <a:extLst>
              <a:ext uri="{FF2B5EF4-FFF2-40B4-BE49-F238E27FC236}">
                <a16:creationId xmlns:a16="http://schemas.microsoft.com/office/drawing/2014/main" id="{0F118952-6EB9-41F7-A308-C8D541620CC0}"/>
              </a:ext>
            </a:extLst>
          </p:cNvPr>
          <p:cNvSpPr txBox="1"/>
          <p:nvPr/>
        </p:nvSpPr>
        <p:spPr>
          <a:xfrm>
            <a:off x="5227792" y="981894"/>
            <a:ext cx="13399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Capacity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improvement</a:t>
            </a:r>
          </a:p>
        </p:txBody>
      </p:sp>
      <p:sp>
        <p:nvSpPr>
          <p:cNvPr id="52" name="TextBox 40">
            <a:extLst>
              <a:ext uri="{FF2B5EF4-FFF2-40B4-BE49-F238E27FC236}">
                <a16:creationId xmlns:a16="http://schemas.microsoft.com/office/drawing/2014/main" id="{C2DAF9BE-0F53-4F64-8233-786BB6E2F538}"/>
              </a:ext>
            </a:extLst>
          </p:cNvPr>
          <p:cNvSpPr txBox="1"/>
          <p:nvPr/>
        </p:nvSpPr>
        <p:spPr>
          <a:xfrm>
            <a:off x="8447168" y="1023742"/>
            <a:ext cx="9713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Robot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palletizer</a:t>
            </a:r>
          </a:p>
        </p:txBody>
      </p:sp>
      <p:sp>
        <p:nvSpPr>
          <p:cNvPr id="53" name="TextBox 37">
            <a:extLst>
              <a:ext uri="{FF2B5EF4-FFF2-40B4-BE49-F238E27FC236}">
                <a16:creationId xmlns:a16="http://schemas.microsoft.com/office/drawing/2014/main" id="{8D897286-8DE6-40E2-B4A7-2AC5F6382EF2}"/>
              </a:ext>
            </a:extLst>
          </p:cNvPr>
          <p:cNvSpPr txBox="1"/>
          <p:nvPr/>
        </p:nvSpPr>
        <p:spPr>
          <a:xfrm>
            <a:off x="449906" y="5844820"/>
            <a:ext cx="11596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Foundation</a:t>
            </a:r>
          </a:p>
        </p:txBody>
      </p:sp>
      <p:sp>
        <p:nvSpPr>
          <p:cNvPr id="54" name="TextBox 37">
            <a:extLst>
              <a:ext uri="{FF2B5EF4-FFF2-40B4-BE49-F238E27FC236}">
                <a16:creationId xmlns:a16="http://schemas.microsoft.com/office/drawing/2014/main" id="{865B2299-15BE-44B6-8852-36A7B2090582}"/>
              </a:ext>
            </a:extLst>
          </p:cNvPr>
          <p:cNvSpPr txBox="1"/>
          <p:nvPr/>
        </p:nvSpPr>
        <p:spPr>
          <a:xfrm>
            <a:off x="2783500" y="5633090"/>
            <a:ext cx="14453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Independent</a:t>
            </a:r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representation</a:t>
            </a:r>
          </a:p>
        </p:txBody>
      </p:sp>
      <p:sp>
        <p:nvSpPr>
          <p:cNvPr id="55" name="TextBox 37">
            <a:extLst>
              <a:ext uri="{FF2B5EF4-FFF2-40B4-BE49-F238E27FC236}">
                <a16:creationId xmlns:a16="http://schemas.microsoft.com/office/drawing/2014/main" id="{3A763E69-9560-441A-BD1C-571086513C50}"/>
              </a:ext>
            </a:extLst>
          </p:cNvPr>
          <p:cNvSpPr txBox="1"/>
          <p:nvPr/>
        </p:nvSpPr>
        <p:spPr>
          <a:xfrm>
            <a:off x="4689271" y="5645966"/>
            <a:ext cx="94769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Office in</a:t>
            </a:r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 </a:t>
            </a:r>
          </a:p>
          <a:p>
            <a:pPr algn="ctr"/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Budaörs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6" name="TextBox 37">
            <a:extLst>
              <a:ext uri="{FF2B5EF4-FFF2-40B4-BE49-F238E27FC236}">
                <a16:creationId xmlns:a16="http://schemas.microsoft.com/office/drawing/2014/main" id="{DE99DFE4-A5A8-41AB-9B5D-94E75C2FC5C0}"/>
              </a:ext>
            </a:extLst>
          </p:cNvPr>
          <p:cNvSpPr txBox="1"/>
          <p:nvPr/>
        </p:nvSpPr>
        <p:spPr>
          <a:xfrm>
            <a:off x="6630128" y="5597836"/>
            <a:ext cx="144642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b="1" dirty="0" err="1">
                <a:solidFill>
                  <a:schemeClr val="bg1"/>
                </a:solidFill>
                <a:cs typeface="Arial" charset="0"/>
              </a:rPr>
              <a:t>Mycofix</a:t>
            </a:r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 </a:t>
            </a:r>
          </a:p>
          <a:p>
            <a:pPr algn="ctr"/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EU registr</a:t>
            </a:r>
            <a:r>
              <a:rPr lang="en-US" sz="1600" b="1" dirty="0" err="1">
                <a:solidFill>
                  <a:schemeClr val="bg1"/>
                </a:solidFill>
                <a:cs typeface="Arial" charset="0"/>
              </a:rPr>
              <a:t>ation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746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25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25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EF3C7-63C7-4A9A-8AE5-F2A1EA00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315" y="165100"/>
            <a:ext cx="10248486" cy="1325563"/>
          </a:xfrm>
        </p:spPr>
        <p:txBody>
          <a:bodyPr/>
          <a:lstStyle/>
          <a:p>
            <a:r>
              <a:rPr lang="hu-HU" b="1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PORTFOLI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00016B-763B-478A-A5AF-78EE8C265874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Picture 28" descr="A picture containing cow, mammal, standing, brown&#10;&#10;Description automatically generated">
            <a:extLst>
              <a:ext uri="{FF2B5EF4-FFF2-40B4-BE49-F238E27FC236}">
                <a16:creationId xmlns:a16="http://schemas.microsoft.com/office/drawing/2014/main" id="{EEC2502F-0E41-42F4-9704-CD0A3E2576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460" y="0"/>
            <a:ext cx="2346049" cy="14827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7827AC2-C2B2-46B9-831E-40CF4D07A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55" y="1490663"/>
            <a:ext cx="10871254" cy="508958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40D703B-49AF-4596-8BE6-2223DDDF5CEA}"/>
              </a:ext>
            </a:extLst>
          </p:cNvPr>
          <p:cNvSpPr txBox="1"/>
          <p:nvPr/>
        </p:nvSpPr>
        <p:spPr>
          <a:xfrm>
            <a:off x="2979995" y="2846043"/>
            <a:ext cx="190901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Z ÁLLATO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GÉSZSÉGÉNE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TÁMOGATÁSA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26B0ABE-B79C-48DB-A138-018754D74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453" y="4611756"/>
            <a:ext cx="997864" cy="24498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328E719-8BA9-4B14-B389-93BE5CFAE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641" y="6166712"/>
            <a:ext cx="1036663" cy="25451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16953A3-2139-471E-B40F-564F844A84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2679" y="4856741"/>
            <a:ext cx="997864" cy="24498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DABF57F-C093-4061-B21A-6C278A70D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584" y="5738191"/>
            <a:ext cx="997864" cy="24498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20199FD-D7C9-4850-A8CD-EF266F2993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1669" y="5079488"/>
            <a:ext cx="885435" cy="19479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70D9B0C-610F-45A3-B7F3-7CACDC393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0" y="4831803"/>
            <a:ext cx="722097" cy="20407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B09B472-8B2A-433F-B5CE-3E4A19F264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8645" y="5957332"/>
            <a:ext cx="696694" cy="36376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BAA5E74-941F-4621-9914-C86985FCAA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2269" y="6381056"/>
            <a:ext cx="871839" cy="208645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9A077D6-47C2-46FA-AF95-F42893871F7D}"/>
              </a:ext>
            </a:extLst>
          </p:cNvPr>
          <p:cNvSpPr/>
          <p:nvPr/>
        </p:nvSpPr>
        <p:spPr>
          <a:xfrm>
            <a:off x="3221033" y="5927065"/>
            <a:ext cx="1231697" cy="602521"/>
          </a:xfrm>
          <a:prstGeom prst="roundRect">
            <a:avLst/>
          </a:prstGeom>
          <a:noFill/>
          <a:ln w="38100">
            <a:solidFill>
              <a:srgbClr val="C00000"/>
            </a:solidFill>
            <a:extLst>
              <a:ext uri="{C807C97D-BFC1-408E-A445-0C87EB9F89A2}">
                <ask:lineSketchStyleProps xmlns:ask="http://schemas.microsoft.com/office/drawing/2018/sketchyshapes" sd="1772922437">
                  <a:custGeom>
                    <a:avLst/>
                    <a:gdLst>
                      <a:gd name="connsiteX0" fmla="*/ 0 w 1231697"/>
                      <a:gd name="connsiteY0" fmla="*/ 100422 h 602521"/>
                      <a:gd name="connsiteX1" fmla="*/ 100422 w 1231697"/>
                      <a:gd name="connsiteY1" fmla="*/ 0 h 602521"/>
                      <a:gd name="connsiteX2" fmla="*/ 1131275 w 1231697"/>
                      <a:gd name="connsiteY2" fmla="*/ 0 h 602521"/>
                      <a:gd name="connsiteX3" fmla="*/ 1231697 w 1231697"/>
                      <a:gd name="connsiteY3" fmla="*/ 100422 h 602521"/>
                      <a:gd name="connsiteX4" fmla="*/ 1231697 w 1231697"/>
                      <a:gd name="connsiteY4" fmla="*/ 502099 h 602521"/>
                      <a:gd name="connsiteX5" fmla="*/ 1131275 w 1231697"/>
                      <a:gd name="connsiteY5" fmla="*/ 602521 h 602521"/>
                      <a:gd name="connsiteX6" fmla="*/ 100422 w 1231697"/>
                      <a:gd name="connsiteY6" fmla="*/ 602521 h 602521"/>
                      <a:gd name="connsiteX7" fmla="*/ 0 w 1231697"/>
                      <a:gd name="connsiteY7" fmla="*/ 502099 h 602521"/>
                      <a:gd name="connsiteX8" fmla="*/ 0 w 1231697"/>
                      <a:gd name="connsiteY8" fmla="*/ 100422 h 6025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31697" h="602521" extrusionOk="0">
                        <a:moveTo>
                          <a:pt x="0" y="100422"/>
                        </a:moveTo>
                        <a:cubicBezTo>
                          <a:pt x="-7357" y="50815"/>
                          <a:pt x="48359" y="5357"/>
                          <a:pt x="100422" y="0"/>
                        </a:cubicBezTo>
                        <a:cubicBezTo>
                          <a:pt x="318237" y="-2021"/>
                          <a:pt x="953780" y="-70783"/>
                          <a:pt x="1131275" y="0"/>
                        </a:cubicBezTo>
                        <a:cubicBezTo>
                          <a:pt x="1180214" y="5229"/>
                          <a:pt x="1228591" y="38918"/>
                          <a:pt x="1231697" y="100422"/>
                        </a:cubicBezTo>
                        <a:cubicBezTo>
                          <a:pt x="1229314" y="179433"/>
                          <a:pt x="1252958" y="408568"/>
                          <a:pt x="1231697" y="502099"/>
                        </a:cubicBezTo>
                        <a:cubicBezTo>
                          <a:pt x="1236753" y="563396"/>
                          <a:pt x="1192422" y="602213"/>
                          <a:pt x="1131275" y="602521"/>
                        </a:cubicBezTo>
                        <a:cubicBezTo>
                          <a:pt x="947280" y="550373"/>
                          <a:pt x="403086" y="542231"/>
                          <a:pt x="100422" y="602521"/>
                        </a:cubicBezTo>
                        <a:cubicBezTo>
                          <a:pt x="50248" y="603124"/>
                          <a:pt x="5341" y="560053"/>
                          <a:pt x="0" y="502099"/>
                        </a:cubicBezTo>
                        <a:cubicBezTo>
                          <a:pt x="22958" y="301864"/>
                          <a:pt x="10484" y="225346"/>
                          <a:pt x="0" y="10042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EC9CACC0-08AA-4512-9D3B-2B543BAA1A25}"/>
              </a:ext>
            </a:extLst>
          </p:cNvPr>
          <p:cNvSpPr/>
          <p:nvPr/>
        </p:nvSpPr>
        <p:spPr>
          <a:xfrm rot="19183048">
            <a:off x="4277277" y="4951038"/>
            <a:ext cx="1884833" cy="2920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0C24268E-53C6-405F-887A-4B08E8CEE71B}"/>
              </a:ext>
            </a:extLst>
          </p:cNvPr>
          <p:cNvSpPr/>
          <p:nvPr/>
        </p:nvSpPr>
        <p:spPr>
          <a:xfrm rot="21186867">
            <a:off x="4678698" y="5730202"/>
            <a:ext cx="2366440" cy="282417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06C8A635-99B6-4957-974F-26FE60D74EE2}"/>
              </a:ext>
            </a:extLst>
          </p:cNvPr>
          <p:cNvSpPr/>
          <p:nvPr/>
        </p:nvSpPr>
        <p:spPr>
          <a:xfrm rot="16200000">
            <a:off x="3701024" y="4937658"/>
            <a:ext cx="992883" cy="289639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79D2E40-069C-4565-87A5-F4B8D3CEE6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7316" y="1579427"/>
            <a:ext cx="10871254" cy="19199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C2D7677-D680-45A7-83D3-E2E5BB9FAA0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4224" y="1481210"/>
            <a:ext cx="4544671" cy="2887203"/>
          </a:xfrm>
          <a:prstGeom prst="rect">
            <a:avLst/>
          </a:prstGeom>
        </p:spPr>
      </p:pic>
      <p:pic>
        <p:nvPicPr>
          <p:cNvPr id="102404" name="Picture 4" descr="PDF] Necrotic enteritis in chickens: an important disease caused by  Clostridium perfringens | Semantic Scholar">
            <a:extLst>
              <a:ext uri="{FF2B5EF4-FFF2-40B4-BE49-F238E27FC236}">
                <a16:creationId xmlns:a16="http://schemas.microsoft.com/office/drawing/2014/main" id="{E0BB3519-F929-4A97-AA4E-0249D9959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9986" y="477656"/>
            <a:ext cx="3749295" cy="3510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06" name="Picture 6" descr="Molecular Survey of Bacterial Communities Associated with Bacterial  Chondronecrosis with Osteomyelitis (BCO) in Broilers | PLOS ONE">
            <a:extLst>
              <a:ext uri="{FF2B5EF4-FFF2-40B4-BE49-F238E27FC236}">
                <a16:creationId xmlns:a16="http://schemas.microsoft.com/office/drawing/2014/main" id="{F783B779-BD0A-4720-A7A0-3E06BEAD8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6781" y="4138612"/>
            <a:ext cx="3048000" cy="245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1451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24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24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24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24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3" grpId="0" animBg="1"/>
      <p:bldP spid="17" grpId="0" animBg="1"/>
      <p:bldP spid="18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EF3C7-63C7-4A9A-8AE5-F2A1EA00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315" y="165100"/>
            <a:ext cx="10248486" cy="1325563"/>
          </a:xfrm>
        </p:spPr>
        <p:txBody>
          <a:bodyPr/>
          <a:lstStyle/>
          <a:p>
            <a:r>
              <a:rPr lang="hu-HU" b="1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PORTFOLI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00016B-763B-478A-A5AF-78EE8C265874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Picture 28" descr="A picture containing cow, mammal, standing, brown&#10;&#10;Description automatically generated">
            <a:extLst>
              <a:ext uri="{FF2B5EF4-FFF2-40B4-BE49-F238E27FC236}">
                <a16:creationId xmlns:a16="http://schemas.microsoft.com/office/drawing/2014/main" id="{EEC2502F-0E41-42F4-9704-CD0A3E2576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460" y="0"/>
            <a:ext cx="2346049" cy="14827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7827AC2-C2B2-46B9-831E-40CF4D07A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55" y="1490663"/>
            <a:ext cx="10871254" cy="508958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40D703B-49AF-4596-8BE6-2223DDDF5CEA}"/>
              </a:ext>
            </a:extLst>
          </p:cNvPr>
          <p:cNvSpPr txBox="1"/>
          <p:nvPr/>
        </p:nvSpPr>
        <p:spPr>
          <a:xfrm>
            <a:off x="2979995" y="2846043"/>
            <a:ext cx="190901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Z ÁLLATO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GÉSZSÉGÉNE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TÁMOGATÁSA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26B0ABE-B79C-48DB-A138-018754D74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453" y="4611756"/>
            <a:ext cx="997864" cy="24498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328E719-8BA9-4B14-B389-93BE5CFAE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641" y="6166712"/>
            <a:ext cx="1036663" cy="25451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16953A3-2139-471E-B40F-564F844A84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2679" y="4856741"/>
            <a:ext cx="997864" cy="24498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DABF57F-C093-4061-B21A-6C278A70D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584" y="5738191"/>
            <a:ext cx="997864" cy="24498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20199FD-D7C9-4850-A8CD-EF266F2993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1669" y="5079488"/>
            <a:ext cx="885435" cy="19479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70D9B0C-610F-45A3-B7F3-7CACDC393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0" y="4831803"/>
            <a:ext cx="722097" cy="20407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B09B472-8B2A-433F-B5CE-3E4A19F264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78889" y="5957332"/>
            <a:ext cx="811540" cy="42372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BAA5E74-941F-4621-9914-C86985FCAA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2269" y="6381056"/>
            <a:ext cx="871839" cy="208645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9A077D6-47C2-46FA-AF95-F42893871F7D}"/>
              </a:ext>
            </a:extLst>
          </p:cNvPr>
          <p:cNvSpPr/>
          <p:nvPr/>
        </p:nvSpPr>
        <p:spPr>
          <a:xfrm>
            <a:off x="9785855" y="6122577"/>
            <a:ext cx="1227946" cy="440091"/>
          </a:xfrm>
          <a:prstGeom prst="roundRect">
            <a:avLst/>
          </a:prstGeom>
          <a:noFill/>
          <a:ln w="38100">
            <a:solidFill>
              <a:srgbClr val="C00000"/>
            </a:solidFill>
            <a:extLst>
              <a:ext uri="{C807C97D-BFC1-408E-A445-0C87EB9F89A2}">
                <ask:lineSketchStyleProps xmlns:ask="http://schemas.microsoft.com/office/drawing/2018/sketchyshapes" sd="1772922437">
                  <a:custGeom>
                    <a:avLst/>
                    <a:gdLst>
                      <a:gd name="connsiteX0" fmla="*/ 0 w 1227946"/>
                      <a:gd name="connsiteY0" fmla="*/ 73350 h 440091"/>
                      <a:gd name="connsiteX1" fmla="*/ 73350 w 1227946"/>
                      <a:gd name="connsiteY1" fmla="*/ 0 h 440091"/>
                      <a:gd name="connsiteX2" fmla="*/ 1154596 w 1227946"/>
                      <a:gd name="connsiteY2" fmla="*/ 0 h 440091"/>
                      <a:gd name="connsiteX3" fmla="*/ 1227946 w 1227946"/>
                      <a:gd name="connsiteY3" fmla="*/ 73350 h 440091"/>
                      <a:gd name="connsiteX4" fmla="*/ 1227946 w 1227946"/>
                      <a:gd name="connsiteY4" fmla="*/ 366741 h 440091"/>
                      <a:gd name="connsiteX5" fmla="*/ 1154596 w 1227946"/>
                      <a:gd name="connsiteY5" fmla="*/ 440091 h 440091"/>
                      <a:gd name="connsiteX6" fmla="*/ 73350 w 1227946"/>
                      <a:gd name="connsiteY6" fmla="*/ 440091 h 440091"/>
                      <a:gd name="connsiteX7" fmla="*/ 0 w 1227946"/>
                      <a:gd name="connsiteY7" fmla="*/ 366741 h 440091"/>
                      <a:gd name="connsiteX8" fmla="*/ 0 w 1227946"/>
                      <a:gd name="connsiteY8" fmla="*/ 73350 h 4400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27946" h="440091" extrusionOk="0">
                        <a:moveTo>
                          <a:pt x="0" y="73350"/>
                        </a:moveTo>
                        <a:cubicBezTo>
                          <a:pt x="-977" y="33617"/>
                          <a:pt x="33334" y="779"/>
                          <a:pt x="73350" y="0"/>
                        </a:cubicBezTo>
                        <a:cubicBezTo>
                          <a:pt x="426819" y="-65637"/>
                          <a:pt x="1041153" y="90092"/>
                          <a:pt x="1154596" y="0"/>
                        </a:cubicBezTo>
                        <a:cubicBezTo>
                          <a:pt x="1189597" y="4416"/>
                          <a:pt x="1225322" y="27735"/>
                          <a:pt x="1227946" y="73350"/>
                        </a:cubicBezTo>
                        <a:cubicBezTo>
                          <a:pt x="1226002" y="182677"/>
                          <a:pt x="1247421" y="299358"/>
                          <a:pt x="1227946" y="366741"/>
                        </a:cubicBezTo>
                        <a:cubicBezTo>
                          <a:pt x="1230555" y="410262"/>
                          <a:pt x="1197146" y="439980"/>
                          <a:pt x="1154596" y="440091"/>
                        </a:cubicBezTo>
                        <a:cubicBezTo>
                          <a:pt x="635214" y="482634"/>
                          <a:pt x="577501" y="391614"/>
                          <a:pt x="73350" y="440091"/>
                        </a:cubicBezTo>
                        <a:cubicBezTo>
                          <a:pt x="34232" y="440250"/>
                          <a:pt x="5289" y="409718"/>
                          <a:pt x="0" y="366741"/>
                        </a:cubicBezTo>
                        <a:cubicBezTo>
                          <a:pt x="1749" y="333564"/>
                          <a:pt x="-11714" y="178135"/>
                          <a:pt x="0" y="7335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4337982D-B608-466E-9147-F12C922A8C45}"/>
              </a:ext>
            </a:extLst>
          </p:cNvPr>
          <p:cNvSpPr/>
          <p:nvPr/>
        </p:nvSpPr>
        <p:spPr>
          <a:xfrm rot="12746387">
            <a:off x="7603195" y="5325487"/>
            <a:ext cx="2051063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92F613B-4533-4E09-B29C-8032E9C8ACB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7316" y="1579427"/>
            <a:ext cx="10871254" cy="1919983"/>
          </a:xfrm>
          <a:prstGeom prst="rect">
            <a:avLst/>
          </a:prstGeom>
        </p:spPr>
      </p:pic>
      <p:pic>
        <p:nvPicPr>
          <p:cNvPr id="104450" name="Picture 2" descr="DSM NV: Staying Resilient Through The Downcycle (OTCMKTS:KDSKF) | Seeking  Alpha">
            <a:extLst>
              <a:ext uri="{FF2B5EF4-FFF2-40B4-BE49-F238E27FC236}">
                <a16:creationId xmlns:a16="http://schemas.microsoft.com/office/drawing/2014/main" id="{6EA46605-3673-479F-AE6C-90A9DEECF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87717">
            <a:off x="346264" y="1978595"/>
            <a:ext cx="11488695" cy="3006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2907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44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44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4014788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5614" t="4305" r="36813" b="4305"/>
          <a:stretch/>
        </p:blipFill>
        <p:spPr>
          <a:xfrm>
            <a:off x="4014788" y="0"/>
            <a:ext cx="4014789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239" t="11930" r="43444" b="8007"/>
          <a:stretch/>
        </p:blipFill>
        <p:spPr>
          <a:xfrm>
            <a:off x="8029577" y="-6693"/>
            <a:ext cx="4166486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4767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3239" t="11930" r="43444" b="8007"/>
          <a:stretch/>
        </p:blipFill>
        <p:spPr>
          <a:xfrm>
            <a:off x="0" y="-6693"/>
            <a:ext cx="12196063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4322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9FC752-3C66-4395-996D-7156C2426E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836" y="426328"/>
            <a:ext cx="9088524" cy="609398"/>
          </a:xfrm>
        </p:spPr>
        <p:txBody>
          <a:bodyPr/>
          <a:lstStyle/>
          <a:p>
            <a:r>
              <a:rPr lang="hu-HU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erv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05474" name="Picture 2" descr="NIRS DS2500 Liquid Analyzer | Metrohm">
            <a:extLst>
              <a:ext uri="{FF2B5EF4-FFF2-40B4-BE49-F238E27FC236}">
                <a16:creationId xmlns:a16="http://schemas.microsoft.com/office/drawing/2014/main" id="{42D822F4-0A6F-4A1D-9ACB-2C074D2309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5552" y="1328857"/>
            <a:ext cx="7988589" cy="4485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1377072" y="4016194"/>
            <a:ext cx="1535094" cy="52322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481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54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54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9FC752-3C66-4395-996D-7156C2426E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836" y="426328"/>
            <a:ext cx="9088524" cy="609398"/>
          </a:xfrm>
        </p:spPr>
        <p:txBody>
          <a:bodyPr/>
          <a:lstStyle/>
          <a:p>
            <a:r>
              <a:rPr lang="hu-HU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erv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1649625" y="4304429"/>
            <a:ext cx="1535094" cy="52322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55CA962-CF99-48FB-A658-BE697534EE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4719" y="2873737"/>
            <a:ext cx="5138142" cy="3742874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106498" name="Picture 2" descr="Citrine MS/MS – your Medical Diagnostic mass spectrometer •  healthcare-in-europe.com">
            <a:extLst>
              <a:ext uri="{FF2B5EF4-FFF2-40B4-BE49-F238E27FC236}">
                <a16:creationId xmlns:a16="http://schemas.microsoft.com/office/drawing/2014/main" id="{8783CF06-E874-4979-BB81-B5EB360332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617" y="584461"/>
            <a:ext cx="7766444" cy="4659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3613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06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9FC752-3C66-4395-996D-7156C2426E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836" y="426328"/>
            <a:ext cx="9088524" cy="609398"/>
          </a:xfrm>
        </p:spPr>
        <p:txBody>
          <a:bodyPr/>
          <a:lstStyle/>
          <a:p>
            <a:r>
              <a:rPr lang="hu-HU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erv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1470991" y="4492487"/>
            <a:ext cx="1878495" cy="77525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F52FC55-819D-480A-9E5A-2E2154E93C2A}"/>
              </a:ext>
            </a:extLst>
          </p:cNvPr>
          <p:cNvSpPr/>
          <p:nvPr/>
        </p:nvSpPr>
        <p:spPr>
          <a:xfrm>
            <a:off x="3826566" y="3017815"/>
            <a:ext cx="2530060" cy="155729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255C734-36B4-4BCD-87E0-359FDC6AA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000" y="742850"/>
            <a:ext cx="9327666" cy="539594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glow rad="101600">
              <a:schemeClr val="accent1">
                <a:satMod val="175000"/>
                <a:alpha val="40000"/>
              </a:schemeClr>
            </a:glow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BF1C237-AD20-48F6-BB3C-6DDCDD072A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3444" y="165948"/>
            <a:ext cx="6421058" cy="65140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glow rad="139700">
              <a:schemeClr val="accent1">
                <a:satMod val="175000"/>
                <a:alpha val="40000"/>
              </a:schemeClr>
            </a:glow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92097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9FC752-3C66-4395-996D-7156C2426E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836" y="426328"/>
            <a:ext cx="9088524" cy="609398"/>
          </a:xfrm>
        </p:spPr>
        <p:txBody>
          <a:bodyPr/>
          <a:lstStyle/>
          <a:p>
            <a:r>
              <a:rPr lang="hu-HU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erv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8846653" y="3200400"/>
            <a:ext cx="2484783" cy="270124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3FE6DC-9D60-4659-9F16-679CB60DC0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183" y="1328857"/>
            <a:ext cx="11939389" cy="457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454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9FC752-3C66-4395-996D-7156C2426E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836" y="426328"/>
            <a:ext cx="9088524" cy="609398"/>
          </a:xfrm>
        </p:spPr>
        <p:txBody>
          <a:bodyPr/>
          <a:lstStyle/>
          <a:p>
            <a:r>
              <a:rPr lang="hu-HU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erv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solidFill>
                  <a:srgbClr val="FFFFFF"/>
                </a:solidFill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1265627" y="5608497"/>
            <a:ext cx="4007413" cy="99806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8" name="Picture 7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0E02A7B1-F589-4C89-B56D-CD72BE1036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73" y="0"/>
            <a:ext cx="1179664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275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high angle view of a building&#10;&#10;Description automatically generated with medium confidence">
            <a:extLst>
              <a:ext uri="{FF2B5EF4-FFF2-40B4-BE49-F238E27FC236}">
                <a16:creationId xmlns:a16="http://schemas.microsoft.com/office/drawing/2014/main" id="{E965DF54-19D8-48EB-9487-140662E20A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228" y="4211411"/>
            <a:ext cx="4053840" cy="2700332"/>
          </a:xfrm>
          <a:prstGeom prst="rect">
            <a:avLst/>
          </a:prstGeom>
        </p:spPr>
      </p:pic>
      <p:pic>
        <p:nvPicPr>
          <p:cNvPr id="13" name="Picture 12" descr="A picture containing building, cage&#10;&#10;Description automatically generated">
            <a:extLst>
              <a:ext uri="{FF2B5EF4-FFF2-40B4-BE49-F238E27FC236}">
                <a16:creationId xmlns:a16="http://schemas.microsoft.com/office/drawing/2014/main" id="{8C5C3A30-DDD4-43BC-BD72-20B7C45230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8732" y="1036972"/>
            <a:ext cx="2571565" cy="2734967"/>
          </a:xfrm>
          <a:prstGeom prst="rect">
            <a:avLst/>
          </a:prstGeom>
        </p:spPr>
      </p:pic>
      <p:pic>
        <p:nvPicPr>
          <p:cNvPr id="5" name="Picture 4" descr="A picture containing furniture&#10;&#10;Description automatically generated">
            <a:extLst>
              <a:ext uri="{FF2B5EF4-FFF2-40B4-BE49-F238E27FC236}">
                <a16:creationId xmlns:a16="http://schemas.microsoft.com/office/drawing/2014/main" id="{B742CE22-1138-43BB-A041-1142B93A78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493" y="4031312"/>
            <a:ext cx="2501966" cy="1949218"/>
          </a:xfrm>
          <a:prstGeom prst="rect">
            <a:avLst/>
          </a:prstGeom>
        </p:spPr>
      </p:pic>
      <p:pic>
        <p:nvPicPr>
          <p:cNvPr id="17" name="Picture 16" descr="A picture containing sky, outdoor, grass, nature&#10;&#10;Description automatically generated">
            <a:extLst>
              <a:ext uri="{FF2B5EF4-FFF2-40B4-BE49-F238E27FC236}">
                <a16:creationId xmlns:a16="http://schemas.microsoft.com/office/drawing/2014/main" id="{234846B4-0BA3-48B4-B693-1BC299D283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063" y="3212427"/>
            <a:ext cx="3011006" cy="2045367"/>
          </a:xfrm>
          <a:prstGeom prst="rect">
            <a:avLst/>
          </a:prstGeom>
        </p:spPr>
      </p:pic>
      <p:pic>
        <p:nvPicPr>
          <p:cNvPr id="19" name="Picture 18" descr="A picture containing indoor&#10;&#10;Description automatically generated">
            <a:extLst>
              <a:ext uri="{FF2B5EF4-FFF2-40B4-BE49-F238E27FC236}">
                <a16:creationId xmlns:a16="http://schemas.microsoft.com/office/drawing/2014/main" id="{D4AEB264-B146-410E-8A99-946203B358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038" y="1027634"/>
            <a:ext cx="3084323" cy="231324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21C588A-74C9-4C11-8C10-9D0409C34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80" y="82384"/>
            <a:ext cx="10389473" cy="935641"/>
          </a:xfrm>
        </p:spPr>
        <p:txBody>
          <a:bodyPr/>
          <a:lstStyle/>
          <a:p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mix plant technology upgrade – Project </a:t>
            </a:r>
            <a:r>
              <a:rPr lang="en-US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nubia</a:t>
            </a: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07CBC-779F-4A36-A68F-2863622609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3970318"/>
          </a:xfrm>
        </p:spPr>
        <p:txBody>
          <a:bodyPr/>
          <a:lstStyle/>
          <a:p>
            <a:r>
              <a:rPr lang="en-US" sz="2400" dirty="0"/>
              <a:t>Dispensary relocation</a:t>
            </a:r>
          </a:p>
          <a:p>
            <a:r>
              <a:rPr lang="en-US" sz="2400" dirty="0"/>
              <a:t>New group silo </a:t>
            </a:r>
          </a:p>
          <a:p>
            <a:r>
              <a:rPr lang="en-US" sz="2400" dirty="0"/>
              <a:t>Renewal of packaging line</a:t>
            </a:r>
          </a:p>
          <a:p>
            <a:r>
              <a:rPr lang="en-US" sz="2400" dirty="0"/>
              <a:t>New pneumatic system</a:t>
            </a:r>
          </a:p>
          <a:p>
            <a:r>
              <a:rPr lang="en-US" sz="2400" dirty="0"/>
              <a:t>Cover of loading area </a:t>
            </a:r>
          </a:p>
          <a:p>
            <a:r>
              <a:rPr lang="en-US" sz="2400" dirty="0"/>
              <a:t>Warehouse and production software</a:t>
            </a:r>
          </a:p>
          <a:p>
            <a:r>
              <a:rPr lang="en-US" sz="2400" dirty="0"/>
              <a:t>Security system upgrade</a:t>
            </a:r>
          </a:p>
          <a:p>
            <a:r>
              <a:rPr lang="en-US" sz="2400" dirty="0"/>
              <a:t>Solar panel park</a:t>
            </a:r>
          </a:p>
          <a:p>
            <a:r>
              <a:rPr lang="en-US" sz="2400" dirty="0"/>
              <a:t>New BB stations</a:t>
            </a:r>
          </a:p>
          <a:p>
            <a:r>
              <a:rPr lang="en-US" sz="2400" dirty="0"/>
              <a:t>Labor development </a:t>
            </a:r>
          </a:p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F32AC1-0926-4D20-9D03-EB3851A8308A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C61041-1849-462C-BCF6-A937C1C07F5D}"/>
              </a:ext>
            </a:extLst>
          </p:cNvPr>
          <p:cNvSpPr/>
          <p:nvPr/>
        </p:nvSpPr>
        <p:spPr>
          <a:xfrm>
            <a:off x="551821" y="6527138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777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2AF03D-74FB-456E-A1D3-B3CFAB9365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46200" y="2506662"/>
            <a:ext cx="9728200" cy="2065338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sz="9600" b="1">
                <a:solidFill>
                  <a:schemeClr val="bg1"/>
                </a:solidFill>
                <a:latin typeface="Bradley Hand ITC" panose="03070402050302030203" pitchFamily="66" charset="0"/>
              </a:rPr>
              <a:t>20 years in numbers </a:t>
            </a:r>
            <a:endParaRPr lang="hu-HU" sz="96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A314CE-D731-4A39-A3D7-8EE02F410CF9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41006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E7B2505-D447-4A4C-A187-2885F6D90FF9}"/>
              </a:ext>
            </a:extLst>
          </p:cNvPr>
          <p:cNvSpPr/>
          <p:nvPr/>
        </p:nvSpPr>
        <p:spPr>
          <a:xfrm>
            <a:off x="9058031" y="6025662"/>
            <a:ext cx="3130822" cy="832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pic>
        <p:nvPicPr>
          <p:cNvPr id="6" name="Picture 5" descr="A picture containing text, mammal&#10;&#10;Description automatically generated">
            <a:extLst>
              <a:ext uri="{FF2B5EF4-FFF2-40B4-BE49-F238E27FC236}">
                <a16:creationId xmlns:a16="http://schemas.microsoft.com/office/drawing/2014/main" id="{4864C09C-E569-4503-8C6F-939EE8DD8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6093"/>
            <a:ext cx="12192484" cy="464101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5EB062-9606-4461-AC82-DB65A2CF846A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A2C600-5745-497C-91C9-7BDAD4C60229}"/>
              </a:ext>
            </a:extLst>
          </p:cNvPr>
          <p:cNvSpPr/>
          <p:nvPr/>
        </p:nvSpPr>
        <p:spPr>
          <a:xfrm>
            <a:off x="143766" y="6563139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3252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people posing for a photo in front of a building&#10;&#10;Description automatically generated">
            <a:extLst>
              <a:ext uri="{FF2B5EF4-FFF2-40B4-BE49-F238E27FC236}">
                <a16:creationId xmlns:a16="http://schemas.microsoft.com/office/drawing/2014/main" id="{EEBD170F-34F1-45A6-B8C4-3021F3D86C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51586"/>
            <a:ext cx="12192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527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69E2A45-7C0F-4001-8A1E-AB9A4C71D7D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2192"/>
            <a:ext cx="12192000" cy="6858000"/>
          </a:xfr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52AF16B1-E79C-6C45-9240-1D619B7E9BA2}"/>
              </a:ext>
            </a:extLst>
          </p:cNvPr>
          <p:cNvSpPr txBox="1">
            <a:spLocks/>
          </p:cNvSpPr>
          <p:nvPr/>
        </p:nvSpPr>
        <p:spPr>
          <a:xfrm>
            <a:off x="2" y="2343015"/>
            <a:ext cx="12192000" cy="502842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0070BA"/>
                </a:solidFill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j-ea"/>
                <a:cs typeface="+mj-cs"/>
              </a:rPr>
              <a:t>If not us, </a:t>
            </a:r>
            <a:r>
              <a:rPr kumimoji="0" lang="en-GB" sz="3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j-ea"/>
                <a:cs typeface="+mj-cs"/>
              </a:rPr>
              <a:t>who?    If not now, when?</a:t>
            </a:r>
            <a:endParaRPr kumimoji="0" lang="en-US" sz="3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Medium"/>
              <a:ea typeface="+mj-ea"/>
              <a:cs typeface="+mj-cs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1C44965C-CC43-4649-99CB-C368F5DD88E9}"/>
              </a:ext>
            </a:extLst>
          </p:cNvPr>
          <p:cNvSpPr txBox="1">
            <a:spLocks/>
          </p:cNvSpPr>
          <p:nvPr/>
        </p:nvSpPr>
        <p:spPr>
          <a:xfrm>
            <a:off x="1" y="2824011"/>
            <a:ext cx="12192001" cy="182819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0070BA"/>
                </a:solidFill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j-ea"/>
                <a:cs typeface="+mj-cs"/>
              </a:rPr>
              <a:t>WE MAKE IT POSSIBLE</a:t>
            </a:r>
            <a:endParaRPr kumimoji="0" lang="en-US" sz="6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Medium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35286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607411-7E04-4BBD-A0BD-A345EFED6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727" y="313340"/>
            <a:ext cx="6548218" cy="22065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52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260.467 t</a:t>
            </a:r>
            <a:r>
              <a:rPr lang="hu-HU" sz="52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o</a:t>
            </a:r>
            <a:r>
              <a:rPr lang="en-US" sz="52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 </a:t>
            </a:r>
            <a:r>
              <a:rPr lang="en-US" sz="52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premix</a:t>
            </a:r>
            <a:endParaRPr lang="hu-HU" sz="5200" b="1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lvl="1"/>
            <a:r>
              <a:rPr lang="hu-HU" sz="32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2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46.644 t</a:t>
            </a:r>
            <a:r>
              <a:rPr lang="hu-HU" sz="32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o</a:t>
            </a:r>
            <a:r>
              <a:rPr lang="en-US" sz="32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 </a:t>
            </a:r>
            <a:r>
              <a:rPr lang="hu-HU" sz="32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in bi</a:t>
            </a:r>
            <a:r>
              <a:rPr lang="en-US" sz="3200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gbag</a:t>
            </a:r>
            <a:endParaRPr lang="en-US" sz="3200" b="1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DA7C80-F0A3-49D1-A4DC-4ACEFEC856C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975" y="470728"/>
            <a:ext cx="5177527" cy="2662640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  <a:softEdge rad="139700"/>
          </a:effec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C8F477D2-247C-4449-B7B3-E3B4FA8E02FC}"/>
                  </a:ext>
                </a:extLst>
              </p14:cNvPr>
              <p14:cNvContentPartPr/>
              <p14:nvPr/>
            </p14:nvContentPartPr>
            <p14:xfrm>
              <a:off x="2493504" y="2519928"/>
              <a:ext cx="999360" cy="61344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C8F477D2-247C-4449-B7B3-E3B4FA8E02FC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421864" y="2376288"/>
                <a:ext cx="1143000" cy="901080"/>
              </a:xfrm>
              <a:prstGeom prst="rect">
                <a:avLst/>
              </a:prstGeom>
            </p:spPr>
          </p:pic>
        </mc:Fallback>
      </mc:AlternateContent>
      <p:pic>
        <p:nvPicPr>
          <p:cNvPr id="50178" name="Picture 2">
            <a:extLst>
              <a:ext uri="{FF2B5EF4-FFF2-40B4-BE49-F238E27FC236}">
                <a16:creationId xmlns:a16="http://schemas.microsoft.com/office/drawing/2014/main" id="{A9B914D5-53EC-4E29-8B65-9A0F2D40F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952" y="2286603"/>
            <a:ext cx="6718855" cy="4469172"/>
          </a:xfrm>
          <a:prstGeom prst="rect">
            <a:avLst/>
          </a:prstGeom>
          <a:noFill/>
          <a:effectLst>
            <a:glow rad="63500">
              <a:schemeClr val="accent6">
                <a:satMod val="175000"/>
                <a:alpha val="40000"/>
              </a:schemeClr>
            </a:glow>
            <a:softEdge rad="139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6412166-7608-4AD6-8BC5-28A2B5E291CC}"/>
              </a:ext>
            </a:extLst>
          </p:cNvPr>
          <p:cNvSpPr txBox="1"/>
          <p:nvPr/>
        </p:nvSpPr>
        <p:spPr>
          <a:xfrm>
            <a:off x="7906328" y="4018679"/>
            <a:ext cx="41043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Equal to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1343 m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of Chinese Great Wal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1C3027-2F5E-40E2-B9B2-E4BF1FD267FA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3575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9672679-4E03-4825-B7A1-9075BDAE5B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7900" y="473541"/>
            <a:ext cx="8615845" cy="4969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40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213.823 t</a:t>
            </a:r>
            <a:r>
              <a:rPr lang="hu-HU" sz="40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o</a:t>
            </a:r>
            <a:r>
              <a:rPr lang="hu-HU" sz="40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hu-HU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in regular bags... </a:t>
            </a:r>
            <a:endParaRPr lang="en-US" sz="40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5AAEC0-EF97-4634-B5A0-6A3DDF3B29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045" y="1299263"/>
            <a:ext cx="10324874" cy="5397449"/>
          </a:xfrm>
          <a:prstGeom prst="rect">
            <a:avLst/>
          </a:prstGeom>
          <a:effectLst>
            <a:softEdge rad="101600"/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ACBCBF7-487B-48D7-96CF-5ADAB8E780EC}"/>
              </a:ext>
            </a:extLst>
          </p:cNvPr>
          <p:cNvSpPr txBox="1"/>
          <p:nvPr/>
        </p:nvSpPr>
        <p:spPr>
          <a:xfrm rot="21011226">
            <a:off x="1519191" y="4289695"/>
            <a:ext cx="88186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From the Újhartyán gate to Boston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radley Hand ITC" panose="03070402050302030203" pitchFamily="66" charset="0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6265394-E3C1-4BDC-A380-82CB47A86BB3}"/>
              </a:ext>
            </a:extLst>
          </p:cNvPr>
          <p:cNvSpPr/>
          <p:nvPr/>
        </p:nvSpPr>
        <p:spPr>
          <a:xfrm>
            <a:off x="6456219" y="6262255"/>
            <a:ext cx="696480" cy="424946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187B189-FD71-45F1-8DE5-BCBD1416BAD9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0041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01" name="Rectangle 73800">
            <a:extLst>
              <a:ext uri="{FF2B5EF4-FFF2-40B4-BE49-F238E27FC236}">
                <a16:creationId xmlns:a16="http://schemas.microsoft.com/office/drawing/2014/main" id="{891401DC-7AF6-42FA-BE31-CF773B6C8B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680"/>
            <a:ext cx="12188952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C8AC94A0-07FF-4CCE-A13D-C48B80846C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1330" y="193984"/>
            <a:ext cx="1486462" cy="1863902"/>
          </a:xfrm>
          <a:prstGeom prst="rect">
            <a:avLst/>
          </a:prstGeom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884071AA-47AF-4AEB-88A3-CF32547C82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05" y="2617728"/>
            <a:ext cx="1187285" cy="1720704"/>
          </a:xfrm>
          <a:prstGeom prst="rect">
            <a:avLst/>
          </a:prstGeom>
        </p:spPr>
      </p:pic>
      <p:pic>
        <p:nvPicPr>
          <p:cNvPr id="73730" name="Picture 2">
            <a:extLst>
              <a:ext uri="{FF2B5EF4-FFF2-40B4-BE49-F238E27FC236}">
                <a16:creationId xmlns:a16="http://schemas.microsoft.com/office/drawing/2014/main" id="{FEF0483A-ADE0-4DDA-BB58-030F5D81D7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07" r="8905" b="-3"/>
          <a:stretch/>
        </p:blipFill>
        <p:spPr bwMode="auto">
          <a:xfrm>
            <a:off x="-198783" y="4681329"/>
            <a:ext cx="2445024" cy="2084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803" name="Rectangle 73802">
            <a:extLst>
              <a:ext uri="{FF2B5EF4-FFF2-40B4-BE49-F238E27FC236}">
                <a16:creationId xmlns:a16="http://schemas.microsoft.com/office/drawing/2014/main" id="{2B7203F0-D9CB-4774-B9D4-B3AB625DF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7495" y="2300641"/>
            <a:ext cx="8124506" cy="4557360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3805" name="Straight Connector 73804">
            <a:extLst>
              <a:ext uri="{FF2B5EF4-FFF2-40B4-BE49-F238E27FC236}">
                <a16:creationId xmlns:a16="http://schemas.microsoft.com/office/drawing/2014/main" id="{A88CB8AF-5631-45C6-BFEC-971C4D6E58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0" y="2285774"/>
            <a:ext cx="12188952" cy="0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07" name="Straight Connector 73806">
            <a:extLst>
              <a:ext uri="{FF2B5EF4-FFF2-40B4-BE49-F238E27FC236}">
                <a16:creationId xmlns:a16="http://schemas.microsoft.com/office/drawing/2014/main" id="{9F2EA1AF-73AB-4FCB-B4EE-0E42E7250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0" y="4571548"/>
            <a:ext cx="4064320" cy="0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09" name="Straight Connector 73808">
            <a:extLst>
              <a:ext uri="{FF2B5EF4-FFF2-40B4-BE49-F238E27FC236}">
                <a16:creationId xmlns:a16="http://schemas.microsoft.com/office/drawing/2014/main" id="{65A18FBF-6157-4210-BEF2-9A6C31FA89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4319" y="-680"/>
            <a:ext cx="0" cy="6858003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11" name="Straight Connector 73810">
            <a:extLst>
              <a:ext uri="{FF2B5EF4-FFF2-40B4-BE49-F238E27FC236}">
                <a16:creationId xmlns:a16="http://schemas.microsoft.com/office/drawing/2014/main" id="{43C9CCA8-3CEC-4CD0-A624-A701C61251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787597" y="-680"/>
            <a:ext cx="0" cy="2240280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13" name="Straight Connector 73812">
            <a:extLst>
              <a:ext uri="{FF2B5EF4-FFF2-40B4-BE49-F238E27FC236}">
                <a16:creationId xmlns:a16="http://schemas.microsoft.com/office/drawing/2014/main" id="{DDFDA711-2183-447C-AA6C-B1B5643763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510875" y="-680"/>
            <a:ext cx="0" cy="2240280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34375EE-4DF6-4C7C-B69C-0169E65FFA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079" y="141321"/>
            <a:ext cx="1311119" cy="1956275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28BBAAB6-82C0-4841-9DE0-75E008354B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255913" y="418991"/>
            <a:ext cx="1251562" cy="1599652"/>
          </a:xfrm>
          <a:prstGeom prst="rect">
            <a:avLst/>
          </a:prstGeom>
        </p:spPr>
      </p:pic>
      <p:pic>
        <p:nvPicPr>
          <p:cNvPr id="16" name="Picture 15" descr="A red and blue flag&#10;&#10;Description automatically generated with low confidence">
            <a:extLst>
              <a:ext uri="{FF2B5EF4-FFF2-40B4-BE49-F238E27FC236}">
                <a16:creationId xmlns:a16="http://schemas.microsoft.com/office/drawing/2014/main" id="{A26D4223-CA2A-4A93-A8CD-590812B33A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221" y="302137"/>
            <a:ext cx="1378391" cy="1721275"/>
          </a:xfrm>
          <a:prstGeom prst="rect">
            <a:avLst/>
          </a:prstGeom>
        </p:spPr>
      </p:pic>
      <p:pic>
        <p:nvPicPr>
          <p:cNvPr id="18" name="Picture 17" descr="A picture containing text, queen&#10;&#10;Description automatically generated">
            <a:extLst>
              <a:ext uri="{FF2B5EF4-FFF2-40B4-BE49-F238E27FC236}">
                <a16:creationId xmlns:a16="http://schemas.microsoft.com/office/drawing/2014/main" id="{079FBDA8-BA7E-4416-995B-0E0C133350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6025" y="343148"/>
            <a:ext cx="1378391" cy="1654069"/>
          </a:xfrm>
          <a:prstGeom prst="rect">
            <a:avLst/>
          </a:prstGeom>
        </p:spPr>
      </p:pic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A088E7DD-E488-43D9-AB19-D1AFD020EA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5180" y="4101152"/>
            <a:ext cx="6868620" cy="20758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Premixeinkkel</a:t>
            </a:r>
            <a:r>
              <a:rPr lang="en-US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</a:p>
          <a:p>
            <a:pPr marL="0" indent="0">
              <a:buNone/>
            </a:pPr>
            <a:r>
              <a:rPr lang="en-US" sz="2000" b="1" dirty="0">
                <a:solidFill>
                  <a:srgbClr val="FFFFFF"/>
                </a:solidFill>
                <a:latin typeface="Bradley Hand ITC" panose="03070402050302030203" pitchFamily="66" charset="0"/>
              </a:rPr>
              <a:t>48,41 </a:t>
            </a:r>
            <a:r>
              <a:rPr lang="en-US" sz="2000" b="1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millió</a:t>
            </a:r>
            <a:r>
              <a:rPr lang="en-US" sz="2000" b="1" dirty="0">
                <a:solidFill>
                  <a:srgbClr val="FFFFFF"/>
                </a:solidFill>
                <a:latin typeface="Bradley Hand ITC" panose="03070402050302030203" pitchFamily="66" charset="0"/>
              </a:rPr>
              <a:t> t </a:t>
            </a:r>
            <a:r>
              <a:rPr lang="en-US" sz="20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keveréktakarmán</a:t>
            </a:r>
            <a:r>
              <a:rPr lang="hu-HU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hoz</a:t>
            </a:r>
            <a:r>
              <a:rPr lang="en-US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adtunk</a:t>
            </a:r>
            <a:r>
              <a:rPr lang="en-US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alapanyagot</a:t>
            </a:r>
            <a:r>
              <a:rPr lang="en-US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. </a:t>
            </a:r>
            <a:endParaRPr lang="hu-HU" sz="2000" dirty="0">
              <a:solidFill>
                <a:srgbClr val="FFFFFF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2000" dirty="0">
              <a:solidFill>
                <a:srgbClr val="FFFFFF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hu-HU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Ez közel 2 Velencei tó</a:t>
            </a:r>
            <a:endParaRPr lang="en-US" sz="2000" dirty="0">
              <a:solidFill>
                <a:srgbClr val="FFFFFF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24849FE-3433-414D-9182-AB9BBC4823C5}"/>
              </a:ext>
            </a:extLst>
          </p:cNvPr>
          <p:cNvSpPr txBox="1"/>
          <p:nvPr/>
        </p:nvSpPr>
        <p:spPr>
          <a:xfrm>
            <a:off x="2027586" y="2252550"/>
            <a:ext cx="10161366" cy="460477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DD1C586A-6F2E-4520-A66F-A7B2B38F877F}"/>
              </a:ext>
            </a:extLst>
          </p:cNvPr>
          <p:cNvSpPr txBox="1">
            <a:spLocks/>
          </p:cNvSpPr>
          <p:nvPr/>
        </p:nvSpPr>
        <p:spPr>
          <a:xfrm>
            <a:off x="2626637" y="2776283"/>
            <a:ext cx="8852669" cy="3401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latin typeface="Bradley Hand ITC" panose="03070402050302030203" pitchFamily="66" charset="0"/>
              </a:rPr>
              <a:t>We provided premixes to </a:t>
            </a:r>
            <a:r>
              <a:rPr lang="en-US" sz="48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48,41 </a:t>
            </a:r>
            <a:r>
              <a:rPr lang="en-US" sz="4800" b="1" dirty="0" err="1">
                <a:solidFill>
                  <a:srgbClr val="FFFF00"/>
                </a:solidFill>
                <a:latin typeface="Bradley Hand ITC" panose="03070402050302030203" pitchFamily="66" charset="0"/>
              </a:rPr>
              <a:t>mio</a:t>
            </a:r>
            <a:r>
              <a:rPr lang="en-US" sz="48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 to  </a:t>
            </a:r>
            <a:endParaRPr lang="en-US" sz="3600" b="1" dirty="0">
              <a:solidFill>
                <a:srgbClr val="FFFF00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3600" dirty="0">
                <a:latin typeface="Bradley Hand ITC" panose="03070402050302030203" pitchFamily="66" charset="0"/>
              </a:rPr>
              <a:t>of final feed as raw material</a:t>
            </a:r>
            <a:endParaRPr lang="hu-HU" sz="3600" dirty="0"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kumimoji="0" lang="hu-HU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radley Hand ITC" panose="03070402050302030203" pitchFamily="66" charset="0"/>
              <a:ea typeface="+mn-ea"/>
              <a:cs typeface="+mn-cs"/>
            </a:endParaRPr>
          </a:p>
          <a:p>
            <a:pPr marL="0" indent="0">
              <a:buNone/>
            </a:pPr>
            <a:r>
              <a:rPr lang="hu-HU" sz="3600" dirty="0">
                <a:solidFill>
                  <a:srgbClr val="FFFFFF"/>
                </a:solidFill>
                <a:latin typeface="Bradley Hand ITC" panose="03070402050302030203" pitchFamily="66" charset="0"/>
              </a:rPr>
              <a:t>Equal to nearly</a:t>
            </a:r>
          </a:p>
          <a:p>
            <a:pPr marL="0" indent="0">
              <a:buNone/>
            </a:pPr>
            <a:r>
              <a:rPr lang="hu-HU" sz="3600" dirty="0">
                <a:solidFill>
                  <a:srgbClr val="FFFFFF"/>
                </a:solidFill>
                <a:latin typeface="Bradley Hand ITC" panose="03070402050302030203" pitchFamily="66" charset="0"/>
              </a:rPr>
              <a:t>2 Velencei lake</a:t>
            </a:r>
          </a:p>
          <a:p>
            <a:pPr marL="0" indent="0">
              <a:buNone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radley Hand ITC" panose="03070402050302030203" pitchFamily="66" charset="0"/>
              <a:ea typeface="+mn-ea"/>
              <a:cs typeface="+mn-cs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40C8DFD5-B9DD-48B1-9EC9-B88AA5348C4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647" y="4621572"/>
            <a:ext cx="3359785" cy="1899285"/>
          </a:xfrm>
          <a:prstGeom prst="rect">
            <a:avLst/>
          </a:prstGeom>
          <a:noFill/>
          <a:effectLst>
            <a:softEdge rad="190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40C8DFD5-B9DD-48B1-9EC9-B88AA5348C4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4198" y="3731686"/>
            <a:ext cx="3359785" cy="1899285"/>
          </a:xfrm>
          <a:prstGeom prst="rect">
            <a:avLst/>
          </a:prstGeom>
          <a:noFill/>
          <a:effectLst>
            <a:softEdge rad="190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8437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2718" name="Rectangle 72717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720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D445B2-37E2-46EF-9A50-681C3AC0A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662" y="557182"/>
            <a:ext cx="5112991" cy="531684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We have sold </a:t>
            </a: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64.532 to </a:t>
            </a:r>
            <a:r>
              <a:rPr lang="en-US" sz="3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of amino acids as straights and captive</a:t>
            </a:r>
            <a:endParaRPr lang="hu-HU" sz="3600" b="1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3600" b="1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3600" b="1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3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which equals to</a:t>
            </a: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 </a:t>
            </a:r>
            <a:endParaRPr lang="hu-HU" sz="3600" b="1" dirty="0">
              <a:solidFill>
                <a:srgbClr val="FFFF00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33</a:t>
            </a:r>
            <a:r>
              <a:rPr lang="hu-HU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,</a:t>
            </a: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8</a:t>
            </a:r>
            <a:r>
              <a:rPr lang="hu-HU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 km </a:t>
            </a:r>
            <a:r>
              <a:rPr lang="hu-HU" sz="3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long train </a:t>
            </a:r>
            <a:endParaRPr lang="en-US" sz="3600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pic>
        <p:nvPicPr>
          <p:cNvPr id="72706" name="Picture 2">
            <a:extLst>
              <a:ext uri="{FF2B5EF4-FFF2-40B4-BE49-F238E27FC236}">
                <a16:creationId xmlns:a16="http://schemas.microsoft.com/office/drawing/2014/main" id="{0EF2962C-EBBE-4645-A2E5-1C7E2C3B80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7" r="15000" b="-1"/>
          <a:stretch/>
        </p:blipFill>
        <p:spPr bwMode="auto"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05279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D445B2-37E2-46EF-9A50-681C3AC0A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66956" y="2454540"/>
            <a:ext cx="4748843" cy="3240582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r>
              <a:rPr lang="en-US" sz="4400" dirty="0">
                <a:latin typeface="Bradley Hand ITC" panose="03070402050302030203" pitchFamily="66" charset="0"/>
              </a:rPr>
              <a:t>We have replaced </a:t>
            </a:r>
            <a:r>
              <a:rPr lang="en-US" sz="44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79.979 to </a:t>
            </a:r>
            <a:r>
              <a:rPr lang="en-US" sz="4400" dirty="0">
                <a:latin typeface="Bradley Hand ITC" panose="03070402050302030203" pitchFamily="66" charset="0"/>
              </a:rPr>
              <a:t>of </a:t>
            </a:r>
            <a:r>
              <a:rPr lang="en-US" sz="4400" dirty="0" err="1">
                <a:latin typeface="Bradley Hand ITC" panose="03070402050302030203" pitchFamily="66" charset="0"/>
              </a:rPr>
              <a:t>soys</a:t>
            </a:r>
            <a:r>
              <a:rPr lang="en-US" sz="4400" dirty="0">
                <a:latin typeface="Bradley Hand ITC" panose="03070402050302030203" pitchFamily="66" charset="0"/>
              </a:rPr>
              <a:t> </a:t>
            </a:r>
            <a:endParaRPr lang="hu-HU" sz="4400" dirty="0"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4400" dirty="0"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4400" dirty="0">
                <a:latin typeface="Bradley Hand ITC" panose="03070402050302030203" pitchFamily="66" charset="0"/>
              </a:rPr>
              <a:t>by using </a:t>
            </a:r>
            <a:r>
              <a:rPr lang="en-US" sz="4400" dirty="0" err="1">
                <a:latin typeface="Bradley Hand ITC" panose="03070402050302030203" pitchFamily="66" charset="0"/>
              </a:rPr>
              <a:t>Ronozyme</a:t>
            </a:r>
            <a:r>
              <a:rPr lang="en-US" sz="4400" dirty="0">
                <a:latin typeface="Bradley Hand ITC" panose="03070402050302030203" pitchFamily="66" charset="0"/>
              </a:rPr>
              <a:t> </a:t>
            </a:r>
            <a:r>
              <a:rPr lang="en-US" sz="4400" dirty="0" err="1">
                <a:latin typeface="Bradley Hand ITC" panose="03070402050302030203" pitchFamily="66" charset="0"/>
              </a:rPr>
              <a:t>ProAct</a:t>
            </a:r>
            <a:endParaRPr lang="en-US" sz="4400" dirty="0">
              <a:latin typeface="Bradley Hand ITC" panose="03070402050302030203" pitchFamily="66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picture containing water, boat, outdoor, ship&#10;&#10;Description automatically generated">
            <a:extLst>
              <a:ext uri="{FF2B5EF4-FFF2-40B4-BE49-F238E27FC236}">
                <a16:creationId xmlns:a16="http://schemas.microsoft.com/office/drawing/2014/main" id="{E8FC5D11-010C-49A9-9781-35B6BC0856A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10" r="18623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29258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9JBanOjGEKq8uWNN.R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YC9_SDxYFmUIQ2La0JH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IbkAS0jcfJ5qAie_NV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510271309237556990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510271309248366092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SM / Multi color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5AD1217C-C2A8-4145-A417-1828340FB749}"/>
    </a:ext>
  </a:extLst>
</a:theme>
</file>

<file path=ppt/theme/theme4.xml><?xml version="1.0" encoding="utf-8"?>
<a:theme xmlns:a="http://schemas.openxmlformats.org/drawingml/2006/main" name="8_Default Design">
  <a:themeElements>
    <a:clrScheme name="1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blue_Fira_Sans_RV.potx" id="{6F31FA1A-EF7B-47B8-AD48-896D052367E4}" vid="{0F4264D6-318A-4BD7-9D3A-FC5BDE97D4D7}"/>
    </a:ext>
  </a:extLst>
</a:theme>
</file>

<file path=ppt/theme/theme6.xml><?xml version="1.0" encoding="utf-8"?>
<a:theme xmlns:a="http://schemas.openxmlformats.org/drawingml/2006/main" name="1_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blue_Fira_Sans_RV.potx" id="{6F31FA1A-EF7B-47B8-AD48-896D052367E4}" vid="{0F4264D6-318A-4BD7-9D3A-FC5BDE97D4D7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SM blue">
    <a:dk1>
      <a:srgbClr val="000000"/>
    </a:dk1>
    <a:lt1>
      <a:srgbClr val="FFFFFF"/>
    </a:lt1>
    <a:dk2>
      <a:srgbClr val="003478"/>
    </a:dk2>
    <a:lt2>
      <a:srgbClr val="FFFFFF"/>
    </a:lt2>
    <a:accent1>
      <a:srgbClr val="83D0F5"/>
    </a:accent1>
    <a:accent2>
      <a:srgbClr val="009FE3"/>
    </a:accent2>
    <a:accent3>
      <a:srgbClr val="0070BA"/>
    </a:accent3>
    <a:accent4>
      <a:srgbClr val="003478"/>
    </a:accent4>
    <a:accent5>
      <a:srgbClr val="FFCD00"/>
    </a:accent5>
    <a:accent6>
      <a:srgbClr val="D0DF00"/>
    </a:accent6>
    <a:hlink>
      <a:srgbClr val="A8AD00"/>
    </a:hlink>
    <a:folHlink>
      <a:srgbClr val="7F7F7F"/>
    </a:folHlink>
  </a:clrScheme>
</a:themeOverride>
</file>

<file path=ppt/theme/themeOverride2.xml><?xml version="1.0" encoding="utf-8"?>
<a:themeOverride xmlns:a="http://schemas.openxmlformats.org/drawingml/2006/main">
  <a:clrScheme name="1_Default Design 1">
    <a:dk1>
      <a:srgbClr val="000000"/>
    </a:dk1>
    <a:lt1>
      <a:srgbClr val="FFFFFF"/>
    </a:lt1>
    <a:dk2>
      <a:srgbClr val="0070BA"/>
    </a:dk2>
    <a:lt2>
      <a:srgbClr val="5F5F5F"/>
    </a:lt2>
    <a:accent1>
      <a:srgbClr val="83D0F5"/>
    </a:accent1>
    <a:accent2>
      <a:srgbClr val="009FE3"/>
    </a:accent2>
    <a:accent3>
      <a:srgbClr val="FFFFFF"/>
    </a:accent3>
    <a:accent4>
      <a:srgbClr val="000000"/>
    </a:accent4>
    <a:accent5>
      <a:srgbClr val="C1E4F9"/>
    </a:accent5>
    <a:accent6>
      <a:srgbClr val="0090CE"/>
    </a:accent6>
    <a:hlink>
      <a:srgbClr val="0070BA"/>
    </a:hlink>
    <a:folHlink>
      <a:srgbClr val="1A2B68"/>
    </a:folHlink>
  </a:clrScheme>
</a:themeOverride>
</file>

<file path=ppt/theme/themeOverride3.xml><?xml version="1.0" encoding="utf-8"?>
<a:themeOverride xmlns:a="http://schemas.openxmlformats.org/drawingml/2006/main">
  <a:clrScheme name="1_Default Design 1">
    <a:dk1>
      <a:srgbClr val="000000"/>
    </a:dk1>
    <a:lt1>
      <a:srgbClr val="FFFFFF"/>
    </a:lt1>
    <a:dk2>
      <a:srgbClr val="0070BA"/>
    </a:dk2>
    <a:lt2>
      <a:srgbClr val="5F5F5F"/>
    </a:lt2>
    <a:accent1>
      <a:srgbClr val="83D0F5"/>
    </a:accent1>
    <a:accent2>
      <a:srgbClr val="009FE3"/>
    </a:accent2>
    <a:accent3>
      <a:srgbClr val="FFFFFF"/>
    </a:accent3>
    <a:accent4>
      <a:srgbClr val="000000"/>
    </a:accent4>
    <a:accent5>
      <a:srgbClr val="C1E4F9"/>
    </a:accent5>
    <a:accent6>
      <a:srgbClr val="0090CE"/>
    </a:accent6>
    <a:hlink>
      <a:srgbClr val="0070BA"/>
    </a:hlink>
    <a:folHlink>
      <a:srgbClr val="1A2B68"/>
    </a:folHlink>
  </a:clrScheme>
</a:themeOverride>
</file>

<file path=ppt/theme/themeOverride4.xml><?xml version="1.0" encoding="utf-8"?>
<a:themeOverride xmlns:a="http://schemas.openxmlformats.org/drawingml/2006/main">
  <a:clrScheme name="1_Default Design 1">
    <a:dk1>
      <a:srgbClr val="000000"/>
    </a:dk1>
    <a:lt1>
      <a:srgbClr val="FFFFFF"/>
    </a:lt1>
    <a:dk2>
      <a:srgbClr val="0070BA"/>
    </a:dk2>
    <a:lt2>
      <a:srgbClr val="5F5F5F"/>
    </a:lt2>
    <a:accent1>
      <a:srgbClr val="83D0F5"/>
    </a:accent1>
    <a:accent2>
      <a:srgbClr val="009FE3"/>
    </a:accent2>
    <a:accent3>
      <a:srgbClr val="FFFFFF"/>
    </a:accent3>
    <a:accent4>
      <a:srgbClr val="000000"/>
    </a:accent4>
    <a:accent5>
      <a:srgbClr val="C1E4F9"/>
    </a:accent5>
    <a:accent6>
      <a:srgbClr val="0090CE"/>
    </a:accent6>
    <a:hlink>
      <a:srgbClr val="0070BA"/>
    </a:hlink>
    <a:folHlink>
      <a:srgbClr val="1A2B6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95</TotalTime>
  <Words>1246</Words>
  <Application>Microsoft Office PowerPoint</Application>
  <PresentationFormat>Widescreen</PresentationFormat>
  <Paragraphs>282</Paragraphs>
  <Slides>4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9" baseType="lpstr">
      <vt:lpstr>Arial</vt:lpstr>
      <vt:lpstr>Bradley Hand ITC</vt:lpstr>
      <vt:lpstr>Calibri</vt:lpstr>
      <vt:lpstr>Calibri Light</vt:lpstr>
      <vt:lpstr>Fira Sans</vt:lpstr>
      <vt:lpstr>Fira Sans Medium</vt:lpstr>
      <vt:lpstr>Fira Sans Regular</vt:lpstr>
      <vt:lpstr>trebuchet ms</vt:lpstr>
      <vt:lpstr>trebuchet ms</vt:lpstr>
      <vt:lpstr>Wingdings</vt:lpstr>
      <vt:lpstr>Office Theme</vt:lpstr>
      <vt:lpstr>1_Office Theme</vt:lpstr>
      <vt:lpstr>DSM / Multi color</vt:lpstr>
      <vt:lpstr>8_Default Design</vt:lpstr>
      <vt:lpstr>DSM / Blue</vt:lpstr>
      <vt:lpstr>1_DSM / Blue</vt:lpstr>
      <vt:lpstr>think-cell Slide</vt:lpstr>
      <vt:lpstr>We Make It Possible! Solution on market challenges </vt:lpstr>
      <vt:lpstr>Irregular class of History</vt:lpstr>
      <vt:lpstr>20 years…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ld Mycofix@</vt:lpstr>
      <vt:lpstr>PowerPoint Presentation</vt:lpstr>
      <vt:lpstr>7657 samples was analysed at our lab in Tulln</vt:lpstr>
      <vt:lpstr>Present and future…</vt:lpstr>
      <vt:lpstr>PowerPoint Presentation</vt:lpstr>
      <vt:lpstr>PowerPoint Presentation</vt:lpstr>
      <vt:lpstr>Raw material &amp; additive market</vt:lpstr>
      <vt:lpstr>Vitamins</vt:lpstr>
      <vt:lpstr>Vitamins</vt:lpstr>
      <vt:lpstr>Amino acids</vt:lpstr>
      <vt:lpstr>Minerals and other raw materials</vt:lpstr>
      <vt:lpstr>PowerPoint Presentation</vt:lpstr>
      <vt:lpstr>PowerPoint Presentation</vt:lpstr>
      <vt:lpstr>PERFORMANCE PORTFOLIO</vt:lpstr>
      <vt:lpstr>PowerPoint Presentation</vt:lpstr>
      <vt:lpstr>PERFORMANCE PORTFOLIO</vt:lpstr>
      <vt:lpstr>Mycotoxin levels in Central Europe, 2022</vt:lpstr>
      <vt:lpstr>Mycotoxin trends from 2018 in Central Europe</vt:lpstr>
      <vt:lpstr>Mycotoxin news</vt:lpstr>
      <vt:lpstr>PERFORMANCE PORTFOLIO</vt:lpstr>
      <vt:lpstr>PERFORMANCE PORTFOLIO</vt:lpstr>
      <vt:lpstr>PowerPoint Presentation</vt:lpstr>
      <vt:lpstr>PowerPoint Presentation</vt:lpstr>
      <vt:lpstr>Services</vt:lpstr>
      <vt:lpstr>Services</vt:lpstr>
      <vt:lpstr>Services</vt:lpstr>
      <vt:lpstr>Services</vt:lpstr>
      <vt:lpstr>Services</vt:lpstr>
      <vt:lpstr>Premix plant technology upgrade – Project Danubia </vt:lpstr>
      <vt:lpstr>PowerPoint Presentation</vt:lpstr>
      <vt:lpstr>PowerPoint Presentation</vt:lpstr>
      <vt:lpstr>PowerPoint Presentation</vt:lpstr>
    </vt:vector>
  </TitlesOfParts>
  <Company>DS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savajda, Zsolt</dc:creator>
  <cp:lastModifiedBy>Jakab, Gabor</cp:lastModifiedBy>
  <cp:revision>60</cp:revision>
  <dcterms:created xsi:type="dcterms:W3CDTF">2022-09-26T07:36:50Z</dcterms:created>
  <dcterms:modified xsi:type="dcterms:W3CDTF">2022-09-29T02:2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79dc149-7c28-4bdf-88ba-07214dba9bb1_Enabled">
    <vt:lpwstr>true</vt:lpwstr>
  </property>
  <property fmtid="{D5CDD505-2E9C-101B-9397-08002B2CF9AE}" pid="3" name="MSIP_Label_279dc149-7c28-4bdf-88ba-07214dba9bb1_SetDate">
    <vt:lpwstr>2022-09-29T02:22:15Z</vt:lpwstr>
  </property>
  <property fmtid="{D5CDD505-2E9C-101B-9397-08002B2CF9AE}" pid="4" name="MSIP_Label_279dc149-7c28-4bdf-88ba-07214dba9bb1_Method">
    <vt:lpwstr>Privileged</vt:lpwstr>
  </property>
  <property fmtid="{D5CDD505-2E9C-101B-9397-08002B2CF9AE}" pid="5" name="MSIP_Label_279dc149-7c28-4bdf-88ba-07214dba9bb1_Name">
    <vt:lpwstr>279dc149-7c28-4bdf-88ba-07214dba9bb1</vt:lpwstr>
  </property>
  <property fmtid="{D5CDD505-2E9C-101B-9397-08002B2CF9AE}" pid="6" name="MSIP_Label_279dc149-7c28-4bdf-88ba-07214dba9bb1_SiteId">
    <vt:lpwstr>49618402-6ea3-441d-957d-7df8773fee54</vt:lpwstr>
  </property>
  <property fmtid="{D5CDD505-2E9C-101B-9397-08002B2CF9AE}" pid="7" name="MSIP_Label_279dc149-7c28-4bdf-88ba-07214dba9bb1_ActionId">
    <vt:lpwstr>9750969d-b483-42f7-99be-8d703aa148d8</vt:lpwstr>
  </property>
  <property fmtid="{D5CDD505-2E9C-101B-9397-08002B2CF9AE}" pid="8" name="MSIP_Label_279dc149-7c28-4bdf-88ba-07214dba9bb1_ContentBits">
    <vt:lpwstr>1</vt:lpwstr>
  </property>
</Properties>
</file>